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68" r:id="rId1"/>
  </p:sldMasterIdLst>
  <p:notesMasterIdLst>
    <p:notesMasterId r:id="rId26"/>
  </p:notesMasterIdLst>
  <p:handoutMasterIdLst>
    <p:handoutMasterId r:id="rId27"/>
  </p:handoutMasterIdLst>
  <p:sldIdLst>
    <p:sldId id="308" r:id="rId2"/>
    <p:sldId id="302" r:id="rId3"/>
    <p:sldId id="352" r:id="rId4"/>
    <p:sldId id="370" r:id="rId5"/>
    <p:sldId id="371" r:id="rId6"/>
    <p:sldId id="392" r:id="rId7"/>
    <p:sldId id="393" r:id="rId8"/>
    <p:sldId id="384" r:id="rId9"/>
    <p:sldId id="383" r:id="rId10"/>
    <p:sldId id="381" r:id="rId11"/>
    <p:sldId id="366" r:id="rId12"/>
    <p:sldId id="356" r:id="rId13"/>
    <p:sldId id="373" r:id="rId14"/>
    <p:sldId id="368" r:id="rId15"/>
    <p:sldId id="394" r:id="rId16"/>
    <p:sldId id="402" r:id="rId17"/>
    <p:sldId id="403" r:id="rId18"/>
    <p:sldId id="405" r:id="rId19"/>
    <p:sldId id="396" r:id="rId20"/>
    <p:sldId id="360" r:id="rId21"/>
    <p:sldId id="367" r:id="rId22"/>
    <p:sldId id="400" r:id="rId23"/>
    <p:sldId id="401" r:id="rId24"/>
    <p:sldId id="363" r:id="rId25"/>
  </p:sldIdLst>
  <p:sldSz cx="12192000" cy="6858000"/>
  <p:notesSz cx="6858000" cy="9144000"/>
  <p:embeddedFontLst>
    <p:embeddedFont>
      <p:font typeface="Verdana" panose="020B0604030504040204" pitchFamily="34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е слайды" id="{0379BFE2-C72C-EC47-A571-78DA0C24BF20}">
          <p14:sldIdLst>
            <p14:sldId id="308"/>
            <p14:sldId id="302"/>
            <p14:sldId id="352"/>
          </p14:sldIdLst>
        </p14:section>
        <p14:section name="Основные слайды" id="{3A9F65EC-1BBF-4446-8A4B-0B42C5F359D5}">
          <p14:sldIdLst>
            <p14:sldId id="370"/>
            <p14:sldId id="371"/>
            <p14:sldId id="392"/>
            <p14:sldId id="393"/>
            <p14:sldId id="384"/>
            <p14:sldId id="383"/>
            <p14:sldId id="381"/>
            <p14:sldId id="366"/>
            <p14:sldId id="356"/>
            <p14:sldId id="373"/>
            <p14:sldId id="368"/>
            <p14:sldId id="394"/>
            <p14:sldId id="402"/>
            <p14:sldId id="403"/>
            <p14:sldId id="405"/>
            <p14:sldId id="396"/>
            <p14:sldId id="360"/>
            <p14:sldId id="367"/>
            <p14:sldId id="400"/>
            <p14:sldId id="401"/>
          </p14:sldIdLst>
        </p14:section>
        <p14:section name="Финальный слайд" id="{5F2C4651-3DD3-43E2-BA73-863A1068A139}">
          <p14:sldIdLst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54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oynovich Elena" initials="VE" lastIdx="11" clrIdx="0">
    <p:extLst>
      <p:ext uri="{19B8F6BF-5375-455C-9EA6-DF929625EA0E}">
        <p15:presenceInfo xmlns:p15="http://schemas.microsoft.com/office/powerpoint/2012/main" userId="S-1-5-21-6776287-713701337-1555438652-921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36DE"/>
    <a:srgbClr val="475DEB"/>
    <a:srgbClr val="00A460"/>
    <a:srgbClr val="000000"/>
    <a:srgbClr val="4C3C68"/>
    <a:srgbClr val="F26F21"/>
    <a:srgbClr val="F9F9F9"/>
    <a:srgbClr val="68676C"/>
    <a:srgbClr val="5D0E8B"/>
    <a:srgbClr val="0DB0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50" autoAdjust="0"/>
    <p:restoredTop sz="81259" autoAdjust="0"/>
  </p:normalViewPr>
  <p:slideViewPr>
    <p:cSldViewPr snapToGrid="0">
      <p:cViewPr varScale="1">
        <p:scale>
          <a:sx n="88" d="100"/>
          <a:sy n="88" d="100"/>
        </p:scale>
        <p:origin x="1709" y="38"/>
      </p:cViewPr>
      <p:guideLst>
        <p:guide orient="horz" pos="3838"/>
        <p:guide pos="54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9" d="100"/>
          <a:sy n="99" d="100"/>
        </p:scale>
        <p:origin x="4272" y="184"/>
      </p:cViewPr>
      <p:guideLst/>
    </p:cSldViewPr>
  </p:notesViewPr>
  <p:gridSpacing cx="79200" cy="79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E1E5EF1-37D6-4C0C-AF9B-B564EE8EEA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ED014F3-BF40-4B39-B1F4-041A73C408D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AE9A07-ECDB-45CB-B68D-B640F6AF21D7}" type="datetimeFigureOut">
              <a:rPr lang="ru-RU" smtClean="0">
                <a:latin typeface="Arial" panose="020B0604020202020204" pitchFamily="34" charset="0"/>
              </a:rPr>
              <a:t>19.05.2021</a:t>
            </a:fld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DE87956-8E5B-4B21-B341-1B89E043598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BAE9166-FBAB-4EAE-A2AE-417DDBBD8C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FD31B0-762A-46EC-9A77-4DE9771365F2}" type="slidenum">
              <a:rPr lang="ru-RU" smtClean="0">
                <a:latin typeface="Arial" panose="020B0604020202020204" pitchFamily="34" charset="0"/>
              </a:rPr>
              <a:t>‹#›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9350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6FAB1D81-B598-43DF-BF02-1CE779655561}" type="datetimeFigureOut">
              <a:rPr lang="ru-RU" smtClean="0"/>
              <a:pPr/>
              <a:t>19.05.2021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86DE5756-4122-49F6-BD1F-07263813EFB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399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3533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13681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90520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32745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26687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Так же то,</a:t>
            </a:r>
            <a:r>
              <a:rPr lang="ru-RU" baseline="0" dirty="0" smtClean="0"/>
              <a:t> чего ожидает руководитель и компания, например, международные практики и сертификат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00B050"/>
                </a:solidFill>
              </a:rPr>
              <a:t/>
            </a:r>
            <a:br>
              <a:rPr lang="ru-RU" b="1" dirty="0" smtClean="0">
                <a:solidFill>
                  <a:srgbClr val="00B050"/>
                </a:solidFill>
              </a:rPr>
            </a:br>
            <a:r>
              <a:rPr lang="ru-RU" b="1" dirty="0" smtClean="0">
                <a:solidFill>
                  <a:srgbClr val="00B050"/>
                </a:solidFill>
              </a:rPr>
              <a:t>Возможные </a:t>
            </a:r>
            <a:r>
              <a:rPr lang="ru-RU" b="1" dirty="0" smtClean="0">
                <a:solidFill>
                  <a:srgbClr val="00B050"/>
                </a:solidFill>
              </a:rPr>
              <a:t>пути получения необходимых навык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Самостоятельное изучение и практика, улучшение качества результатов по текущим задач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бучение от коллег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рохождение внешних тренингов и к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олучение новых задач на работе и поиск возможности применения полученных знаний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Ищите единомышленников – чтобы работать в кайф</a:t>
            </a:r>
            <a:r>
              <a:rPr lang="ru-RU" baseline="0" dirty="0" smtClean="0"/>
              <a:t> и улучшать результат за счет командной работы</a:t>
            </a:r>
            <a:endParaRPr lang="ru-R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26710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5868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0222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3030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5969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Атмосфера: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поощрение рабочей среды, поддерживающей сотрудничество,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• эффективное разрешение конфликтов,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• формирование доверия между членами команды,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• поддержка команды для реализации общих высоких достижений, и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• продвижение общего чувства ответственности за командные цели.</a:t>
            </a:r>
            <a:endParaRPr lang="ru-R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28148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90114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870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DE5756-4122-49F6-BD1F-07263813EFB0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9415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2">
            <a:extLst>
              <a:ext uri="{FF2B5EF4-FFF2-40B4-BE49-F238E27FC236}">
                <a16:creationId xmlns:a16="http://schemas.microsoft.com/office/drawing/2014/main" id="{AFE7CF8E-DA1C-43BA-94C5-396FA1041DC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179731" y="1"/>
            <a:ext cx="7012270" cy="6858000"/>
          </a:xfrm>
          <a:custGeom>
            <a:avLst/>
            <a:gdLst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2471548 w 5859462"/>
              <a:gd name="connsiteY3" fmla="*/ 6858000 h 6858000"/>
              <a:gd name="connsiteX4" fmla="*/ 2268725 w 5859462"/>
              <a:gd name="connsiteY4" fmla="*/ 6726762 h 6858000"/>
              <a:gd name="connsiteX5" fmla="*/ 14190 w 5859462"/>
              <a:gd name="connsiteY5" fmla="*/ 2733255 h 6858000"/>
              <a:gd name="connsiteX6" fmla="*/ 4036 w 5859462"/>
              <a:gd name="connsiteY6" fmla="*/ 2486951 h 6858000"/>
              <a:gd name="connsiteX7" fmla="*/ 0 w 5859462"/>
              <a:gd name="connsiteY7" fmla="*/ 2261217 h 6858000"/>
              <a:gd name="connsiteX8" fmla="*/ 0 w 5859462"/>
              <a:gd name="connsiteY8" fmla="*/ 2256967 h 6858000"/>
              <a:gd name="connsiteX9" fmla="*/ 1876 w 5859462"/>
              <a:gd name="connsiteY9" fmla="*/ 2049822 h 6858000"/>
              <a:gd name="connsiteX10" fmla="*/ 510221 w 5859462"/>
              <a:gd name="connsiteY10" fmla="*/ 49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2471548 w 5859462"/>
              <a:gd name="connsiteY3" fmla="*/ 6858000 h 6858000"/>
              <a:gd name="connsiteX4" fmla="*/ 2268725 w 5859462"/>
              <a:gd name="connsiteY4" fmla="*/ 6726762 h 6858000"/>
              <a:gd name="connsiteX5" fmla="*/ 14190 w 5859462"/>
              <a:gd name="connsiteY5" fmla="*/ 2733255 h 6858000"/>
              <a:gd name="connsiteX6" fmla="*/ 4036 w 5859462"/>
              <a:gd name="connsiteY6" fmla="*/ 2486951 h 6858000"/>
              <a:gd name="connsiteX7" fmla="*/ 0 w 5859462"/>
              <a:gd name="connsiteY7" fmla="*/ 2261217 h 6858000"/>
              <a:gd name="connsiteX8" fmla="*/ 0 w 5859462"/>
              <a:gd name="connsiteY8" fmla="*/ 2256967 h 6858000"/>
              <a:gd name="connsiteX9" fmla="*/ 1876 w 5859462"/>
              <a:gd name="connsiteY9" fmla="*/ 2049822 h 6858000"/>
              <a:gd name="connsiteX10" fmla="*/ 343692 w 5859462"/>
              <a:gd name="connsiteY10" fmla="*/ 490 h 6858000"/>
              <a:gd name="connsiteX11" fmla="*/ 1773415 w 5859462"/>
              <a:gd name="connsiteY11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2471548 w 5859462"/>
              <a:gd name="connsiteY3" fmla="*/ 6858000 h 6858000"/>
              <a:gd name="connsiteX4" fmla="*/ 2268725 w 5859462"/>
              <a:gd name="connsiteY4" fmla="*/ 6726762 h 6858000"/>
              <a:gd name="connsiteX5" fmla="*/ 14190 w 5859462"/>
              <a:gd name="connsiteY5" fmla="*/ 2733255 h 6858000"/>
              <a:gd name="connsiteX6" fmla="*/ 4036 w 5859462"/>
              <a:gd name="connsiteY6" fmla="*/ 2486951 h 6858000"/>
              <a:gd name="connsiteX7" fmla="*/ 0 w 5859462"/>
              <a:gd name="connsiteY7" fmla="*/ 2261217 h 6858000"/>
              <a:gd name="connsiteX8" fmla="*/ 0 w 5859462"/>
              <a:gd name="connsiteY8" fmla="*/ 2256967 h 6858000"/>
              <a:gd name="connsiteX9" fmla="*/ 1876 w 5859462"/>
              <a:gd name="connsiteY9" fmla="*/ 2049822 h 6858000"/>
              <a:gd name="connsiteX10" fmla="*/ 343692 w 5859462"/>
              <a:gd name="connsiteY10" fmla="*/ 490 h 6858000"/>
              <a:gd name="connsiteX11" fmla="*/ 1773415 w 5859462"/>
              <a:gd name="connsiteY11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2471548 w 5859462"/>
              <a:gd name="connsiteY3" fmla="*/ 6858000 h 6858000"/>
              <a:gd name="connsiteX4" fmla="*/ 2268725 w 5859462"/>
              <a:gd name="connsiteY4" fmla="*/ 6726762 h 6858000"/>
              <a:gd name="connsiteX5" fmla="*/ 14190 w 5859462"/>
              <a:gd name="connsiteY5" fmla="*/ 2733255 h 6858000"/>
              <a:gd name="connsiteX6" fmla="*/ 4036 w 5859462"/>
              <a:gd name="connsiteY6" fmla="*/ 2486951 h 6858000"/>
              <a:gd name="connsiteX7" fmla="*/ 0 w 5859462"/>
              <a:gd name="connsiteY7" fmla="*/ 2261217 h 6858000"/>
              <a:gd name="connsiteX8" fmla="*/ 0 w 5859462"/>
              <a:gd name="connsiteY8" fmla="*/ 2256967 h 6858000"/>
              <a:gd name="connsiteX9" fmla="*/ 1876 w 5859462"/>
              <a:gd name="connsiteY9" fmla="*/ 2049822 h 6858000"/>
              <a:gd name="connsiteX10" fmla="*/ 343692 w 5859462"/>
              <a:gd name="connsiteY10" fmla="*/ 490 h 6858000"/>
              <a:gd name="connsiteX11" fmla="*/ 1773415 w 5859462"/>
              <a:gd name="connsiteY11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2471548 w 5859462"/>
              <a:gd name="connsiteY3" fmla="*/ 6858000 h 6858000"/>
              <a:gd name="connsiteX4" fmla="*/ 14190 w 5859462"/>
              <a:gd name="connsiteY4" fmla="*/ 2733255 h 6858000"/>
              <a:gd name="connsiteX5" fmla="*/ 4036 w 5859462"/>
              <a:gd name="connsiteY5" fmla="*/ 2486951 h 6858000"/>
              <a:gd name="connsiteX6" fmla="*/ 0 w 5859462"/>
              <a:gd name="connsiteY6" fmla="*/ 2261217 h 6858000"/>
              <a:gd name="connsiteX7" fmla="*/ 0 w 5859462"/>
              <a:gd name="connsiteY7" fmla="*/ 2256967 h 6858000"/>
              <a:gd name="connsiteX8" fmla="*/ 1876 w 5859462"/>
              <a:gd name="connsiteY8" fmla="*/ 2049822 h 6858000"/>
              <a:gd name="connsiteX9" fmla="*/ 343692 w 5859462"/>
              <a:gd name="connsiteY9" fmla="*/ 490 h 6858000"/>
              <a:gd name="connsiteX10" fmla="*/ 1773415 w 5859462"/>
              <a:gd name="connsiteY10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1872445 w 5859462"/>
              <a:gd name="connsiteY3" fmla="*/ 6852804 h 6858000"/>
              <a:gd name="connsiteX4" fmla="*/ 14190 w 5859462"/>
              <a:gd name="connsiteY4" fmla="*/ 2733255 h 6858000"/>
              <a:gd name="connsiteX5" fmla="*/ 4036 w 5859462"/>
              <a:gd name="connsiteY5" fmla="*/ 2486951 h 6858000"/>
              <a:gd name="connsiteX6" fmla="*/ 0 w 5859462"/>
              <a:gd name="connsiteY6" fmla="*/ 2261217 h 6858000"/>
              <a:gd name="connsiteX7" fmla="*/ 0 w 5859462"/>
              <a:gd name="connsiteY7" fmla="*/ 2256967 h 6858000"/>
              <a:gd name="connsiteX8" fmla="*/ 1876 w 5859462"/>
              <a:gd name="connsiteY8" fmla="*/ 2049822 h 6858000"/>
              <a:gd name="connsiteX9" fmla="*/ 343692 w 5859462"/>
              <a:gd name="connsiteY9" fmla="*/ 490 h 6858000"/>
              <a:gd name="connsiteX10" fmla="*/ 1773415 w 5859462"/>
              <a:gd name="connsiteY10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1872445 w 5859462"/>
              <a:gd name="connsiteY3" fmla="*/ 6852804 h 6858000"/>
              <a:gd name="connsiteX4" fmla="*/ 14190 w 5859462"/>
              <a:gd name="connsiteY4" fmla="*/ 2733255 h 6858000"/>
              <a:gd name="connsiteX5" fmla="*/ 4036 w 5859462"/>
              <a:gd name="connsiteY5" fmla="*/ 2486951 h 6858000"/>
              <a:gd name="connsiteX6" fmla="*/ 0 w 5859462"/>
              <a:gd name="connsiteY6" fmla="*/ 2261217 h 6858000"/>
              <a:gd name="connsiteX7" fmla="*/ 0 w 5859462"/>
              <a:gd name="connsiteY7" fmla="*/ 2256967 h 6858000"/>
              <a:gd name="connsiteX8" fmla="*/ 1876 w 5859462"/>
              <a:gd name="connsiteY8" fmla="*/ 2049822 h 6858000"/>
              <a:gd name="connsiteX9" fmla="*/ 343692 w 5859462"/>
              <a:gd name="connsiteY9" fmla="*/ 490 h 6858000"/>
              <a:gd name="connsiteX10" fmla="*/ 1773415 w 5859462"/>
              <a:gd name="connsiteY10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1872445 w 5859462"/>
              <a:gd name="connsiteY3" fmla="*/ 6852804 h 6858000"/>
              <a:gd name="connsiteX4" fmla="*/ 14190 w 5859462"/>
              <a:gd name="connsiteY4" fmla="*/ 2733255 h 6858000"/>
              <a:gd name="connsiteX5" fmla="*/ 4036 w 5859462"/>
              <a:gd name="connsiteY5" fmla="*/ 2486951 h 6858000"/>
              <a:gd name="connsiteX6" fmla="*/ 0 w 5859462"/>
              <a:gd name="connsiteY6" fmla="*/ 2261217 h 6858000"/>
              <a:gd name="connsiteX7" fmla="*/ 0 w 5859462"/>
              <a:gd name="connsiteY7" fmla="*/ 2256967 h 6858000"/>
              <a:gd name="connsiteX8" fmla="*/ 1876 w 5859462"/>
              <a:gd name="connsiteY8" fmla="*/ 2049822 h 6858000"/>
              <a:gd name="connsiteX9" fmla="*/ 343692 w 5859462"/>
              <a:gd name="connsiteY9" fmla="*/ 490 h 6858000"/>
              <a:gd name="connsiteX10" fmla="*/ 1773415 w 5859462"/>
              <a:gd name="connsiteY10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1872445 w 5859462"/>
              <a:gd name="connsiteY3" fmla="*/ 6852804 h 6858000"/>
              <a:gd name="connsiteX4" fmla="*/ 14190 w 5859462"/>
              <a:gd name="connsiteY4" fmla="*/ 2733255 h 6858000"/>
              <a:gd name="connsiteX5" fmla="*/ 4036 w 5859462"/>
              <a:gd name="connsiteY5" fmla="*/ 2486951 h 6858000"/>
              <a:gd name="connsiteX6" fmla="*/ 0 w 5859462"/>
              <a:gd name="connsiteY6" fmla="*/ 2261217 h 6858000"/>
              <a:gd name="connsiteX7" fmla="*/ 0 w 5859462"/>
              <a:gd name="connsiteY7" fmla="*/ 2256967 h 6858000"/>
              <a:gd name="connsiteX8" fmla="*/ 1876 w 5859462"/>
              <a:gd name="connsiteY8" fmla="*/ 2049822 h 6858000"/>
              <a:gd name="connsiteX9" fmla="*/ 343692 w 5859462"/>
              <a:gd name="connsiteY9" fmla="*/ 490 h 6858000"/>
              <a:gd name="connsiteX10" fmla="*/ 1773415 w 5859462"/>
              <a:gd name="connsiteY10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1872445 w 5859462"/>
              <a:gd name="connsiteY3" fmla="*/ 6852804 h 6858000"/>
              <a:gd name="connsiteX4" fmla="*/ 14190 w 5859462"/>
              <a:gd name="connsiteY4" fmla="*/ 2733255 h 6858000"/>
              <a:gd name="connsiteX5" fmla="*/ 4036 w 5859462"/>
              <a:gd name="connsiteY5" fmla="*/ 2486951 h 6858000"/>
              <a:gd name="connsiteX6" fmla="*/ 0 w 5859462"/>
              <a:gd name="connsiteY6" fmla="*/ 2261217 h 6858000"/>
              <a:gd name="connsiteX7" fmla="*/ 0 w 5859462"/>
              <a:gd name="connsiteY7" fmla="*/ 2256967 h 6858000"/>
              <a:gd name="connsiteX8" fmla="*/ 1876 w 5859462"/>
              <a:gd name="connsiteY8" fmla="*/ 2049822 h 6858000"/>
              <a:gd name="connsiteX9" fmla="*/ 343692 w 5859462"/>
              <a:gd name="connsiteY9" fmla="*/ 490 h 6858000"/>
              <a:gd name="connsiteX10" fmla="*/ 1773415 w 5859462"/>
              <a:gd name="connsiteY10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1872445 w 5859462"/>
              <a:gd name="connsiteY3" fmla="*/ 6852804 h 6858000"/>
              <a:gd name="connsiteX4" fmla="*/ 14190 w 5859462"/>
              <a:gd name="connsiteY4" fmla="*/ 2733255 h 6858000"/>
              <a:gd name="connsiteX5" fmla="*/ 4036 w 5859462"/>
              <a:gd name="connsiteY5" fmla="*/ 2486951 h 6858000"/>
              <a:gd name="connsiteX6" fmla="*/ 0 w 5859462"/>
              <a:gd name="connsiteY6" fmla="*/ 2261217 h 6858000"/>
              <a:gd name="connsiteX7" fmla="*/ 0 w 5859462"/>
              <a:gd name="connsiteY7" fmla="*/ 2256967 h 6858000"/>
              <a:gd name="connsiteX8" fmla="*/ 1876 w 5859462"/>
              <a:gd name="connsiteY8" fmla="*/ 2049822 h 6858000"/>
              <a:gd name="connsiteX9" fmla="*/ 343692 w 5859462"/>
              <a:gd name="connsiteY9" fmla="*/ 490 h 6858000"/>
              <a:gd name="connsiteX10" fmla="*/ 1773415 w 5859462"/>
              <a:gd name="connsiteY10" fmla="*/ 0 h 6858000"/>
              <a:gd name="connsiteX0" fmla="*/ 1773415 w 5859462"/>
              <a:gd name="connsiteY0" fmla="*/ 0 h 6858000"/>
              <a:gd name="connsiteX1" fmla="*/ 5859462 w 5859462"/>
              <a:gd name="connsiteY1" fmla="*/ 0 h 6858000"/>
              <a:gd name="connsiteX2" fmla="*/ 5859462 w 5859462"/>
              <a:gd name="connsiteY2" fmla="*/ 6858000 h 6858000"/>
              <a:gd name="connsiteX3" fmla="*/ 1872445 w 5859462"/>
              <a:gd name="connsiteY3" fmla="*/ 6852804 h 6858000"/>
              <a:gd name="connsiteX4" fmla="*/ 14190 w 5859462"/>
              <a:gd name="connsiteY4" fmla="*/ 2733255 h 6858000"/>
              <a:gd name="connsiteX5" fmla="*/ 4036 w 5859462"/>
              <a:gd name="connsiteY5" fmla="*/ 2486951 h 6858000"/>
              <a:gd name="connsiteX6" fmla="*/ 0 w 5859462"/>
              <a:gd name="connsiteY6" fmla="*/ 2261217 h 6858000"/>
              <a:gd name="connsiteX7" fmla="*/ 0 w 5859462"/>
              <a:gd name="connsiteY7" fmla="*/ 2256967 h 6858000"/>
              <a:gd name="connsiteX8" fmla="*/ 1876 w 5859462"/>
              <a:gd name="connsiteY8" fmla="*/ 2049822 h 6858000"/>
              <a:gd name="connsiteX9" fmla="*/ 343692 w 5859462"/>
              <a:gd name="connsiteY9" fmla="*/ 490 h 6858000"/>
              <a:gd name="connsiteX10" fmla="*/ 1773415 w 5859462"/>
              <a:gd name="connsiteY1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859462" h="6858000">
                <a:moveTo>
                  <a:pt x="1773415" y="0"/>
                </a:moveTo>
                <a:lnTo>
                  <a:pt x="5859462" y="0"/>
                </a:lnTo>
                <a:lnTo>
                  <a:pt x="5859462" y="6858000"/>
                </a:lnTo>
                <a:lnTo>
                  <a:pt x="1872445" y="6852804"/>
                </a:lnTo>
                <a:cubicBezTo>
                  <a:pt x="245839" y="5178284"/>
                  <a:pt x="82260" y="3368683"/>
                  <a:pt x="14190" y="2733255"/>
                </a:cubicBezTo>
                <a:cubicBezTo>
                  <a:pt x="9776" y="2647748"/>
                  <a:pt x="6398" y="2565754"/>
                  <a:pt x="4036" y="2486951"/>
                </a:cubicBezTo>
                <a:cubicBezTo>
                  <a:pt x="2691" y="2411706"/>
                  <a:pt x="1345" y="2336462"/>
                  <a:pt x="0" y="2261217"/>
                </a:cubicBezTo>
                <a:lnTo>
                  <a:pt x="0" y="2256967"/>
                </a:lnTo>
                <a:cubicBezTo>
                  <a:pt x="625" y="2187919"/>
                  <a:pt x="1251" y="2118870"/>
                  <a:pt x="1876" y="2049822"/>
                </a:cubicBezTo>
                <a:cubicBezTo>
                  <a:pt x="22846" y="1174420"/>
                  <a:pt x="119731" y="827344"/>
                  <a:pt x="343692" y="490"/>
                </a:cubicBezTo>
                <a:lnTo>
                  <a:pt x="1773415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lang="ru-RU" dirty="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ACD8C76C-E10A-4281-B34D-EAF7129F232E}"/>
              </a:ext>
            </a:extLst>
          </p:cNvPr>
          <p:cNvSpPr txBox="1">
            <a:spLocks/>
          </p:cNvSpPr>
          <p:nvPr userDrawn="1"/>
        </p:nvSpPr>
        <p:spPr>
          <a:xfrm>
            <a:off x="554424" y="4033237"/>
            <a:ext cx="5720255" cy="10327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68676C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6" name="Заголовок 7">
            <a:extLst>
              <a:ext uri="{FF2B5EF4-FFF2-40B4-BE49-F238E27FC236}">
                <a16:creationId xmlns:a16="http://schemas.microsoft.com/office/drawing/2014/main" id="{783E791F-E725-49AC-B09D-51F5D43E8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2488" y="2985802"/>
            <a:ext cx="4080462" cy="8863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200" b="1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Название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5BF9B408-1810-8C4F-AFF2-0B92461565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0340" y="5807725"/>
            <a:ext cx="3452897" cy="2492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ru-RU" sz="1800" b="1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FA3878C2-228D-4145-8AF5-354F59EA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340" y="6127266"/>
            <a:ext cx="3452897" cy="193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lang="ru-RU" sz="1400" b="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B651DB8-326F-3E4C-8B7B-E4E379C0B1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4291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in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41B2146-08A5-084C-9EB9-85FF906502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39" y="0"/>
            <a:ext cx="12180722" cy="5574632"/>
          </a:xfrm>
          <a:prstGeom prst="rect">
            <a:avLst/>
          </a:prstGeom>
        </p:spPr>
      </p:pic>
      <p:sp>
        <p:nvSpPr>
          <p:cNvPr id="13" name="Текст 4">
            <a:extLst>
              <a:ext uri="{FF2B5EF4-FFF2-40B4-BE49-F238E27FC236}">
                <a16:creationId xmlns:a16="http://schemas.microsoft.com/office/drawing/2014/main" id="{9532EDA9-C30D-A046-8791-DBAC65CFA1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14455" y="5914610"/>
            <a:ext cx="1760776" cy="6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ru-RU" sz="1200" b="1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Автор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C887CCC2-7151-5843-8610-4963D60451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7374" y="5722031"/>
            <a:ext cx="1008000" cy="1008000"/>
          </a:xfrm>
          <a:prstGeom prst="ellipse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4" name="Текст 4">
            <a:extLst>
              <a:ext uri="{FF2B5EF4-FFF2-40B4-BE49-F238E27FC236}">
                <a16:creationId xmlns:a16="http://schemas.microsoft.com/office/drawing/2014/main" id="{C9A7C0FF-55DB-E340-B99C-2A44263C141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4308" y="5914610"/>
            <a:ext cx="1760776" cy="648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2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Телефон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чта</a:t>
            </a:r>
          </a:p>
        </p:txBody>
      </p:sp>
      <p:sp>
        <p:nvSpPr>
          <p:cNvPr id="25" name="Текст 4">
            <a:extLst>
              <a:ext uri="{FF2B5EF4-FFF2-40B4-BE49-F238E27FC236}">
                <a16:creationId xmlns:a16="http://schemas.microsoft.com/office/drawing/2014/main" id="{BD81DF4E-80DA-B541-9E03-22B6F7638C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4161" y="5914610"/>
            <a:ext cx="1760776" cy="648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2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Адрес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BC40CAA5-7A6A-1447-B990-C67CAC332C6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592724" y="5722031"/>
            <a:ext cx="1008000" cy="1007999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US" dirty="0"/>
              <a:t>QR=</a:t>
            </a:r>
            <a:r>
              <a:rPr lang="ru-RU" dirty="0"/>
              <a:t>код</a:t>
            </a:r>
          </a:p>
        </p:txBody>
      </p:sp>
      <p:sp>
        <p:nvSpPr>
          <p:cNvPr id="26" name="Текст 4">
            <a:extLst>
              <a:ext uri="{FF2B5EF4-FFF2-40B4-BE49-F238E27FC236}">
                <a16:creationId xmlns:a16="http://schemas.microsoft.com/office/drawing/2014/main" id="{316C97C2-D1DD-4540-A0A4-2244E69B0C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52424" y="5914610"/>
            <a:ext cx="1494235" cy="6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Социальные сет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E0E68CDC-F412-4147-B306-85B4E8D84839}"/>
              </a:ext>
            </a:extLst>
          </p:cNvPr>
          <p:cNvGrpSpPr/>
          <p:nvPr userDrawn="1"/>
        </p:nvGrpSpPr>
        <p:grpSpPr>
          <a:xfrm>
            <a:off x="3797953" y="2009547"/>
            <a:ext cx="4596093" cy="1833832"/>
            <a:chOff x="3797953" y="1997982"/>
            <a:chExt cx="4596093" cy="1833832"/>
          </a:xfrm>
        </p:grpSpPr>
        <p:sp>
          <p:nvSpPr>
            <p:cNvPr id="11" name="Рисунок 10">
              <a:extLst>
                <a:ext uri="{FF2B5EF4-FFF2-40B4-BE49-F238E27FC236}">
                  <a16:creationId xmlns:a16="http://schemas.microsoft.com/office/drawing/2014/main" id="{E5329993-D808-004A-8D29-1CEC84818169}"/>
                </a:ext>
              </a:extLst>
            </p:cNvPr>
            <p:cNvSpPr/>
            <p:nvPr userDrawn="1"/>
          </p:nvSpPr>
          <p:spPr>
            <a:xfrm>
              <a:off x="3797954" y="1997982"/>
              <a:ext cx="4596092" cy="1186730"/>
            </a:xfrm>
            <a:custGeom>
              <a:avLst/>
              <a:gdLst>
                <a:gd name="connsiteX0" fmla="*/ 336523 w 1360664"/>
                <a:gd name="connsiteY0" fmla="*/ 6698 h 351328"/>
                <a:gd name="connsiteX1" fmla="*/ 473765 w 1360664"/>
                <a:gd name="connsiteY1" fmla="*/ 6698 h 351328"/>
                <a:gd name="connsiteX2" fmla="*/ 622521 w 1360664"/>
                <a:gd name="connsiteY2" fmla="*/ 132659 h 351328"/>
                <a:gd name="connsiteX3" fmla="*/ 470005 w 1360664"/>
                <a:gd name="connsiteY3" fmla="*/ 260030 h 351328"/>
                <a:gd name="connsiteX4" fmla="*/ 415367 w 1360664"/>
                <a:gd name="connsiteY4" fmla="*/ 260030 h 351328"/>
                <a:gd name="connsiteX5" fmla="*/ 415367 w 1360664"/>
                <a:gd name="connsiteY5" fmla="*/ 347569 h 351328"/>
                <a:gd name="connsiteX6" fmla="*/ 336758 w 1360664"/>
                <a:gd name="connsiteY6" fmla="*/ 347569 h 351328"/>
                <a:gd name="connsiteX7" fmla="*/ 336758 w 1360664"/>
                <a:gd name="connsiteY7" fmla="*/ 6698 h 351328"/>
                <a:gd name="connsiteX8" fmla="*/ 336523 w 1360664"/>
                <a:gd name="connsiteY8" fmla="*/ 6698 h 351328"/>
                <a:gd name="connsiteX9" fmla="*/ 651192 w 1360664"/>
                <a:gd name="connsiteY9" fmla="*/ 176134 h 351328"/>
                <a:gd name="connsiteX10" fmla="*/ 829911 w 1360664"/>
                <a:gd name="connsiteY10" fmla="*/ 0 h 351328"/>
                <a:gd name="connsiteX11" fmla="*/ 1008748 w 1360664"/>
                <a:gd name="connsiteY11" fmla="*/ 176134 h 351328"/>
                <a:gd name="connsiteX12" fmla="*/ 829911 w 1360664"/>
                <a:gd name="connsiteY12" fmla="*/ 352269 h 351328"/>
                <a:gd name="connsiteX13" fmla="*/ 651192 w 1360664"/>
                <a:gd name="connsiteY13" fmla="*/ 176134 h 351328"/>
                <a:gd name="connsiteX14" fmla="*/ 651192 w 1360664"/>
                <a:gd name="connsiteY14" fmla="*/ 176134 h 351328"/>
                <a:gd name="connsiteX15" fmla="*/ 829911 w 1360664"/>
                <a:gd name="connsiteY15" fmla="*/ 279536 h 351328"/>
                <a:gd name="connsiteX16" fmla="*/ 731798 w 1360664"/>
                <a:gd name="connsiteY16" fmla="*/ 176252 h 351328"/>
                <a:gd name="connsiteX17" fmla="*/ 829911 w 1360664"/>
                <a:gd name="connsiteY17" fmla="*/ 72968 h 351328"/>
                <a:gd name="connsiteX18" fmla="*/ 928025 w 1360664"/>
                <a:gd name="connsiteY18" fmla="*/ 176252 h 351328"/>
                <a:gd name="connsiteX19" fmla="*/ 829911 w 1360664"/>
                <a:gd name="connsiteY19" fmla="*/ 279536 h 351328"/>
                <a:gd name="connsiteX20" fmla="*/ 829911 w 1360664"/>
                <a:gd name="connsiteY20" fmla="*/ 279536 h 351328"/>
                <a:gd name="connsiteX21" fmla="*/ 1140467 w 1360664"/>
                <a:gd name="connsiteY21" fmla="*/ 156277 h 351328"/>
                <a:gd name="connsiteX22" fmla="*/ 1263608 w 1360664"/>
                <a:gd name="connsiteY22" fmla="*/ 6698 h 351328"/>
                <a:gd name="connsiteX23" fmla="*/ 1355964 w 1360664"/>
                <a:gd name="connsiteY23" fmla="*/ 6698 h 351328"/>
                <a:gd name="connsiteX24" fmla="*/ 1217900 w 1360664"/>
                <a:gd name="connsiteY24" fmla="*/ 168262 h 351328"/>
                <a:gd name="connsiteX25" fmla="*/ 1361017 w 1360664"/>
                <a:gd name="connsiteY25" fmla="*/ 347569 h 351328"/>
                <a:gd name="connsiteX26" fmla="*/ 1261023 w 1360664"/>
                <a:gd name="connsiteY26" fmla="*/ 347569 h 351328"/>
                <a:gd name="connsiteX27" fmla="*/ 1140467 w 1360664"/>
                <a:gd name="connsiteY27" fmla="*/ 192115 h 351328"/>
                <a:gd name="connsiteX28" fmla="*/ 1140467 w 1360664"/>
                <a:gd name="connsiteY28" fmla="*/ 347451 h 351328"/>
                <a:gd name="connsiteX29" fmla="*/ 1061859 w 1360664"/>
                <a:gd name="connsiteY29" fmla="*/ 347451 h 351328"/>
                <a:gd name="connsiteX30" fmla="*/ 1061859 w 1360664"/>
                <a:gd name="connsiteY30" fmla="*/ 6698 h 351328"/>
                <a:gd name="connsiteX31" fmla="*/ 1140467 w 1360664"/>
                <a:gd name="connsiteY31" fmla="*/ 6698 h 351328"/>
                <a:gd name="connsiteX32" fmla="*/ 1140467 w 1360664"/>
                <a:gd name="connsiteY32" fmla="*/ 156277 h 351328"/>
                <a:gd name="connsiteX33" fmla="*/ 1140467 w 1360664"/>
                <a:gd name="connsiteY33" fmla="*/ 156277 h 351328"/>
                <a:gd name="connsiteX34" fmla="*/ 78608 w 1360664"/>
                <a:gd name="connsiteY34" fmla="*/ 156277 h 351328"/>
                <a:gd name="connsiteX35" fmla="*/ 201750 w 1360664"/>
                <a:gd name="connsiteY35" fmla="*/ 6698 h 351328"/>
                <a:gd name="connsiteX36" fmla="*/ 294106 w 1360664"/>
                <a:gd name="connsiteY36" fmla="*/ 6698 h 351328"/>
                <a:gd name="connsiteX37" fmla="*/ 156042 w 1360664"/>
                <a:gd name="connsiteY37" fmla="*/ 168262 h 351328"/>
                <a:gd name="connsiteX38" fmla="*/ 299158 w 1360664"/>
                <a:gd name="connsiteY38" fmla="*/ 347569 h 351328"/>
                <a:gd name="connsiteX39" fmla="*/ 199282 w 1360664"/>
                <a:gd name="connsiteY39" fmla="*/ 347569 h 351328"/>
                <a:gd name="connsiteX40" fmla="*/ 78608 w 1360664"/>
                <a:gd name="connsiteY40" fmla="*/ 192115 h 351328"/>
                <a:gd name="connsiteX41" fmla="*/ 78608 w 1360664"/>
                <a:gd name="connsiteY41" fmla="*/ 347451 h 351328"/>
                <a:gd name="connsiteX42" fmla="*/ 0 w 1360664"/>
                <a:gd name="connsiteY42" fmla="*/ 347451 h 351328"/>
                <a:gd name="connsiteX43" fmla="*/ 0 w 1360664"/>
                <a:gd name="connsiteY43" fmla="*/ 6698 h 351328"/>
                <a:gd name="connsiteX44" fmla="*/ 78608 w 1360664"/>
                <a:gd name="connsiteY44" fmla="*/ 6698 h 351328"/>
                <a:gd name="connsiteX45" fmla="*/ 78608 w 1360664"/>
                <a:gd name="connsiteY45" fmla="*/ 156277 h 351328"/>
                <a:gd name="connsiteX46" fmla="*/ 78608 w 1360664"/>
                <a:gd name="connsiteY46" fmla="*/ 156277 h 351328"/>
                <a:gd name="connsiteX47" fmla="*/ 415132 w 1360664"/>
                <a:gd name="connsiteY47" fmla="*/ 75671 h 351328"/>
                <a:gd name="connsiteX48" fmla="*/ 415132 w 1360664"/>
                <a:gd name="connsiteY48" fmla="*/ 192350 h 351328"/>
                <a:gd name="connsiteX49" fmla="*/ 462132 w 1360664"/>
                <a:gd name="connsiteY49" fmla="*/ 192350 h 351328"/>
                <a:gd name="connsiteX50" fmla="*/ 541681 w 1360664"/>
                <a:gd name="connsiteY50" fmla="*/ 132777 h 351328"/>
                <a:gd name="connsiteX51" fmla="*/ 466715 w 1360664"/>
                <a:gd name="connsiteY51" fmla="*/ 75553 h 351328"/>
                <a:gd name="connsiteX52" fmla="*/ 415132 w 1360664"/>
                <a:gd name="connsiteY52" fmla="*/ 75553 h 351328"/>
                <a:gd name="connsiteX53" fmla="*/ 415132 w 1360664"/>
                <a:gd name="connsiteY53" fmla="*/ 75671 h 35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360664" h="351328">
                  <a:moveTo>
                    <a:pt x="336523" y="6698"/>
                  </a:moveTo>
                  <a:lnTo>
                    <a:pt x="473765" y="6698"/>
                  </a:lnTo>
                  <a:cubicBezTo>
                    <a:pt x="569763" y="6698"/>
                    <a:pt x="622521" y="58281"/>
                    <a:pt x="622521" y="132659"/>
                  </a:cubicBezTo>
                  <a:cubicBezTo>
                    <a:pt x="622521" y="207037"/>
                    <a:pt x="567648" y="260030"/>
                    <a:pt x="470005" y="260030"/>
                  </a:cubicBezTo>
                  <a:lnTo>
                    <a:pt x="415367" y="260030"/>
                  </a:lnTo>
                  <a:lnTo>
                    <a:pt x="415367" y="347569"/>
                  </a:lnTo>
                  <a:lnTo>
                    <a:pt x="336758" y="347569"/>
                  </a:lnTo>
                  <a:lnTo>
                    <a:pt x="336758" y="6698"/>
                  </a:lnTo>
                  <a:lnTo>
                    <a:pt x="336523" y="6698"/>
                  </a:lnTo>
                  <a:close/>
                  <a:moveTo>
                    <a:pt x="651192" y="176134"/>
                  </a:moveTo>
                  <a:cubicBezTo>
                    <a:pt x="651192" y="70853"/>
                    <a:pt x="735088" y="0"/>
                    <a:pt x="829911" y="0"/>
                  </a:cubicBezTo>
                  <a:cubicBezTo>
                    <a:pt x="924735" y="0"/>
                    <a:pt x="1008748" y="67798"/>
                    <a:pt x="1008748" y="176134"/>
                  </a:cubicBezTo>
                  <a:cubicBezTo>
                    <a:pt x="1008748" y="284471"/>
                    <a:pt x="926850" y="352269"/>
                    <a:pt x="829911" y="352269"/>
                  </a:cubicBezTo>
                  <a:cubicBezTo>
                    <a:pt x="732973" y="352387"/>
                    <a:pt x="651192" y="281533"/>
                    <a:pt x="651192" y="176134"/>
                  </a:cubicBezTo>
                  <a:lnTo>
                    <a:pt x="651192" y="176134"/>
                  </a:lnTo>
                  <a:close/>
                  <a:moveTo>
                    <a:pt x="829911" y="279536"/>
                  </a:moveTo>
                  <a:cubicBezTo>
                    <a:pt x="769750" y="279536"/>
                    <a:pt x="731798" y="232653"/>
                    <a:pt x="731798" y="176252"/>
                  </a:cubicBezTo>
                  <a:cubicBezTo>
                    <a:pt x="731798" y="119851"/>
                    <a:pt x="769398" y="72968"/>
                    <a:pt x="829911" y="72968"/>
                  </a:cubicBezTo>
                  <a:cubicBezTo>
                    <a:pt x="890424" y="72968"/>
                    <a:pt x="928025" y="119264"/>
                    <a:pt x="928025" y="176252"/>
                  </a:cubicBezTo>
                  <a:cubicBezTo>
                    <a:pt x="927907" y="233240"/>
                    <a:pt x="889954" y="279536"/>
                    <a:pt x="829911" y="279536"/>
                  </a:cubicBezTo>
                  <a:lnTo>
                    <a:pt x="829911" y="279536"/>
                  </a:lnTo>
                  <a:close/>
                  <a:moveTo>
                    <a:pt x="1140467" y="156277"/>
                  </a:moveTo>
                  <a:lnTo>
                    <a:pt x="1263608" y="6698"/>
                  </a:lnTo>
                  <a:lnTo>
                    <a:pt x="1355964" y="6698"/>
                  </a:lnTo>
                  <a:lnTo>
                    <a:pt x="1217900" y="168262"/>
                  </a:lnTo>
                  <a:lnTo>
                    <a:pt x="1361017" y="347569"/>
                  </a:lnTo>
                  <a:lnTo>
                    <a:pt x="1261023" y="347569"/>
                  </a:lnTo>
                  <a:lnTo>
                    <a:pt x="1140467" y="192115"/>
                  </a:lnTo>
                  <a:lnTo>
                    <a:pt x="1140467" y="347451"/>
                  </a:lnTo>
                  <a:lnTo>
                    <a:pt x="1061859" y="347451"/>
                  </a:lnTo>
                  <a:lnTo>
                    <a:pt x="1061859" y="6698"/>
                  </a:lnTo>
                  <a:lnTo>
                    <a:pt x="1140467" y="6698"/>
                  </a:lnTo>
                  <a:lnTo>
                    <a:pt x="1140467" y="156277"/>
                  </a:lnTo>
                  <a:lnTo>
                    <a:pt x="1140467" y="156277"/>
                  </a:lnTo>
                  <a:close/>
                  <a:moveTo>
                    <a:pt x="78608" y="156277"/>
                  </a:moveTo>
                  <a:lnTo>
                    <a:pt x="201750" y="6698"/>
                  </a:lnTo>
                  <a:lnTo>
                    <a:pt x="294106" y="6698"/>
                  </a:lnTo>
                  <a:lnTo>
                    <a:pt x="156042" y="168262"/>
                  </a:lnTo>
                  <a:lnTo>
                    <a:pt x="299158" y="347569"/>
                  </a:lnTo>
                  <a:lnTo>
                    <a:pt x="199282" y="347569"/>
                  </a:lnTo>
                  <a:lnTo>
                    <a:pt x="78608" y="192115"/>
                  </a:lnTo>
                  <a:lnTo>
                    <a:pt x="78608" y="347451"/>
                  </a:lnTo>
                  <a:lnTo>
                    <a:pt x="0" y="347451"/>
                  </a:lnTo>
                  <a:lnTo>
                    <a:pt x="0" y="6698"/>
                  </a:lnTo>
                  <a:lnTo>
                    <a:pt x="78608" y="6698"/>
                  </a:lnTo>
                  <a:lnTo>
                    <a:pt x="78608" y="156277"/>
                  </a:lnTo>
                  <a:lnTo>
                    <a:pt x="78608" y="156277"/>
                  </a:lnTo>
                  <a:close/>
                  <a:moveTo>
                    <a:pt x="415132" y="75671"/>
                  </a:moveTo>
                  <a:lnTo>
                    <a:pt x="415132" y="192350"/>
                  </a:lnTo>
                  <a:lnTo>
                    <a:pt x="462132" y="192350"/>
                  </a:lnTo>
                  <a:cubicBezTo>
                    <a:pt x="518650" y="192350"/>
                    <a:pt x="541681" y="169437"/>
                    <a:pt x="541681" y="132777"/>
                  </a:cubicBezTo>
                  <a:cubicBezTo>
                    <a:pt x="541681" y="103636"/>
                    <a:pt x="522998" y="75553"/>
                    <a:pt x="466715" y="75553"/>
                  </a:cubicBezTo>
                  <a:lnTo>
                    <a:pt x="415132" y="75553"/>
                  </a:lnTo>
                  <a:lnTo>
                    <a:pt x="415132" y="75671"/>
                  </a:lnTo>
                  <a:close/>
                </a:path>
              </a:pathLst>
            </a:custGeom>
            <a:solidFill>
              <a:schemeClr val="bg1"/>
            </a:solidFill>
            <a:ln w="1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F28182CD-8DF3-8B4C-8AD4-B780C8CB58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97953" y="3541970"/>
              <a:ext cx="4596091" cy="2898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0127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001 F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6">
            <a:extLst>
              <a:ext uri="{FF2B5EF4-FFF2-40B4-BE49-F238E27FC236}">
                <a16:creationId xmlns:a16="http://schemas.microsoft.com/office/drawing/2014/main" id="{FB9F9F31-F681-774C-9BF7-DDFEC20DAC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5570" y="2092008"/>
            <a:ext cx="1955800" cy="1955800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Текст 61">
            <a:extLst>
              <a:ext uri="{FF2B5EF4-FFF2-40B4-BE49-F238E27FC236}">
                <a16:creationId xmlns:a16="http://schemas.microsoft.com/office/drawing/2014/main" id="{896089DB-F46F-7744-B6D7-DF23082206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4822" y="4350464"/>
            <a:ext cx="2237296" cy="274634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buNone/>
              <a:defRPr lang="ru-RU" sz="16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LOREM IPSUM</a:t>
            </a:r>
            <a:endParaRPr lang="ru-RU" dirty="0"/>
          </a:p>
        </p:txBody>
      </p:sp>
      <p:sp>
        <p:nvSpPr>
          <p:cNvPr id="15" name="Текст 61">
            <a:extLst>
              <a:ext uri="{FF2B5EF4-FFF2-40B4-BE49-F238E27FC236}">
                <a16:creationId xmlns:a16="http://schemas.microsoft.com/office/drawing/2014/main" id="{879F5188-D5D6-D144-84DF-74AB2A927B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822" y="4880373"/>
            <a:ext cx="2237296" cy="108834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ru-RU" dirty="0"/>
          </a:p>
        </p:txBody>
      </p:sp>
      <p:sp>
        <p:nvSpPr>
          <p:cNvPr id="16" name="Рисунок 16">
            <a:extLst>
              <a:ext uri="{FF2B5EF4-FFF2-40B4-BE49-F238E27FC236}">
                <a16:creationId xmlns:a16="http://schemas.microsoft.com/office/drawing/2014/main" id="{0CE68564-9EC9-B048-9FB6-1799C4EC94E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718295" y="2092008"/>
            <a:ext cx="1955800" cy="1955800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17" name="Текст 61">
            <a:extLst>
              <a:ext uri="{FF2B5EF4-FFF2-40B4-BE49-F238E27FC236}">
                <a16:creationId xmlns:a16="http://schemas.microsoft.com/office/drawing/2014/main" id="{29CBBA1C-1916-5143-B7E9-18C6A1FA1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7548" y="4350464"/>
            <a:ext cx="2237295" cy="274634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buNone/>
              <a:defRPr lang="ru-RU" sz="16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LOREM IPSUM</a:t>
            </a:r>
            <a:endParaRPr lang="ru-RU" dirty="0"/>
          </a:p>
        </p:txBody>
      </p:sp>
      <p:sp>
        <p:nvSpPr>
          <p:cNvPr id="18" name="Текст 61">
            <a:extLst>
              <a:ext uri="{FF2B5EF4-FFF2-40B4-BE49-F238E27FC236}">
                <a16:creationId xmlns:a16="http://schemas.microsoft.com/office/drawing/2014/main" id="{6C6D84F3-F9FF-DE44-873C-0F05035ADF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7548" y="4880373"/>
            <a:ext cx="2237295" cy="108834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ru-RU" dirty="0"/>
          </a:p>
        </p:txBody>
      </p:sp>
      <p:sp>
        <p:nvSpPr>
          <p:cNvPr id="19" name="Рисунок 16">
            <a:extLst>
              <a:ext uri="{FF2B5EF4-FFF2-40B4-BE49-F238E27FC236}">
                <a16:creationId xmlns:a16="http://schemas.microsoft.com/office/drawing/2014/main" id="{90E361F5-12DD-FA4C-AF7B-5866F2948D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40923" y="2092008"/>
            <a:ext cx="1955800" cy="1955800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0" name="Текст 61">
            <a:extLst>
              <a:ext uri="{FF2B5EF4-FFF2-40B4-BE49-F238E27FC236}">
                <a16:creationId xmlns:a16="http://schemas.microsoft.com/office/drawing/2014/main" id="{6FEAF92A-1ED4-B74A-92A3-CD1EBE35EA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00176" y="4350464"/>
            <a:ext cx="2237295" cy="274634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buNone/>
              <a:defRPr lang="ru-RU" sz="16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LOREM IPSUM</a:t>
            </a:r>
            <a:endParaRPr lang="ru-RU" dirty="0"/>
          </a:p>
        </p:txBody>
      </p:sp>
      <p:sp>
        <p:nvSpPr>
          <p:cNvPr id="21" name="Текст 61">
            <a:extLst>
              <a:ext uri="{FF2B5EF4-FFF2-40B4-BE49-F238E27FC236}">
                <a16:creationId xmlns:a16="http://schemas.microsoft.com/office/drawing/2014/main" id="{B098CA43-5380-B346-9CBD-36838B76E9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0176" y="4880373"/>
            <a:ext cx="2237295" cy="108834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ru-RU" dirty="0"/>
          </a:p>
        </p:txBody>
      </p:sp>
      <p:sp>
        <p:nvSpPr>
          <p:cNvPr id="23" name="Рисунок 16">
            <a:extLst>
              <a:ext uri="{FF2B5EF4-FFF2-40B4-BE49-F238E27FC236}">
                <a16:creationId xmlns:a16="http://schemas.microsoft.com/office/drawing/2014/main" id="{45087822-014E-C844-B220-BE3A8CA4907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55914" y="2092008"/>
            <a:ext cx="1955800" cy="1955800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4" name="Текст 61">
            <a:extLst>
              <a:ext uri="{FF2B5EF4-FFF2-40B4-BE49-F238E27FC236}">
                <a16:creationId xmlns:a16="http://schemas.microsoft.com/office/drawing/2014/main" id="{790BCDF6-D4F1-D747-9DED-B926A5712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15167" y="4350464"/>
            <a:ext cx="2237295" cy="274634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buNone/>
              <a:defRPr lang="ru-RU" sz="16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LOREM IPSUM</a:t>
            </a:r>
            <a:endParaRPr lang="ru-RU" dirty="0"/>
          </a:p>
        </p:txBody>
      </p:sp>
      <p:sp>
        <p:nvSpPr>
          <p:cNvPr id="25" name="Текст 61">
            <a:extLst>
              <a:ext uri="{FF2B5EF4-FFF2-40B4-BE49-F238E27FC236}">
                <a16:creationId xmlns:a16="http://schemas.microsoft.com/office/drawing/2014/main" id="{BEB339FD-53A3-6044-81BD-5A515EE63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15167" y="4880373"/>
            <a:ext cx="2237295" cy="108834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massa</a:t>
            </a:r>
            <a:endParaRPr lang="ru-RU" dirty="0"/>
          </a:p>
        </p:txBody>
      </p:sp>
      <p:sp>
        <p:nvSpPr>
          <p:cNvPr id="28" name="Заголовок 55">
            <a:extLst>
              <a:ext uri="{FF2B5EF4-FFF2-40B4-BE49-F238E27FC236}">
                <a16:creationId xmlns:a16="http://schemas.microsoft.com/office/drawing/2014/main" id="{D13CC691-4E8D-1345-A178-8305630BB7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01" y="474130"/>
            <a:ext cx="10566837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, Arial Bold 28 px</a:t>
            </a:r>
            <a:endParaRPr lang="ru-RU" dirty="0"/>
          </a:p>
        </p:txBody>
      </p:sp>
      <p:sp>
        <p:nvSpPr>
          <p:cNvPr id="29" name="Рисунок 10">
            <a:extLst>
              <a:ext uri="{FF2B5EF4-FFF2-40B4-BE49-F238E27FC236}">
                <a16:creationId xmlns:a16="http://schemas.microsoft.com/office/drawing/2014/main" id="{DBF611D8-DC6E-4A40-AAA3-AEB40204BC9E}"/>
              </a:ext>
            </a:extLst>
          </p:cNvPr>
          <p:cNvSpPr>
            <a:spLocks noChangeAspect="1"/>
          </p:cNvSpPr>
          <p:nvPr userDrawn="1"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Номер слайда 22">
            <a:extLst>
              <a:ext uri="{FF2B5EF4-FFF2-40B4-BE49-F238E27FC236}">
                <a16:creationId xmlns:a16="http://schemas.microsoft.com/office/drawing/2014/main" id="{58CCB954-0CA9-4046-8DD2-B5855C3DA4B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8885851" y="6401617"/>
            <a:ext cx="2743200" cy="201600"/>
          </a:xfrm>
        </p:spPr>
        <p:txBody>
          <a:bodyPr/>
          <a:lstStyle/>
          <a:p>
            <a:fld id="{1947F118-66FC-BE48-93F4-28945D1606A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7889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001 F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54">
            <a:extLst>
              <a:ext uri="{FF2B5EF4-FFF2-40B4-BE49-F238E27FC236}">
                <a16:creationId xmlns:a16="http://schemas.microsoft.com/office/drawing/2014/main" id="{DFECF236-AD73-504E-A411-313420E286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34630" y="5336763"/>
            <a:ext cx="3671887" cy="95410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sz="1400"/>
            </a:lvl1pPr>
          </a:lstStyle>
          <a:p>
            <a:r>
              <a:rPr lang="en-US" sz="1400" dirty="0" err="1"/>
              <a:t>Nullam</a:t>
            </a:r>
            <a:r>
              <a:rPr lang="en-US" sz="1400" dirty="0"/>
              <a:t> dictum </a:t>
            </a:r>
            <a:r>
              <a:rPr lang="en-US" sz="1400" dirty="0" err="1"/>
              <a:t>felis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pede</a:t>
            </a:r>
            <a:r>
              <a:rPr lang="en-US" sz="1400" dirty="0"/>
              <a:t> </a:t>
            </a:r>
            <a:r>
              <a:rPr lang="en-US" sz="1400" dirty="0" err="1"/>
              <a:t>mollis</a:t>
            </a:r>
            <a:r>
              <a:rPr lang="en-US" sz="1400" dirty="0"/>
              <a:t> </a:t>
            </a:r>
            <a:r>
              <a:rPr lang="en-US" sz="1400" dirty="0" err="1"/>
              <a:t>pretium</a:t>
            </a:r>
            <a:r>
              <a:rPr lang="en-US" sz="1400" dirty="0"/>
              <a:t>. Integer </a:t>
            </a:r>
            <a:r>
              <a:rPr lang="en-US" sz="1400" dirty="0" err="1"/>
              <a:t>tincidunt</a:t>
            </a:r>
            <a:r>
              <a:rPr lang="en-US" sz="1400" dirty="0"/>
              <a:t>. Cras </a:t>
            </a:r>
            <a:r>
              <a:rPr lang="en-US" sz="1400" dirty="0" err="1"/>
              <a:t>dapibus</a:t>
            </a:r>
            <a:r>
              <a:rPr lang="en-US" sz="1400" dirty="0"/>
              <a:t>. </a:t>
            </a:r>
            <a:r>
              <a:rPr lang="en-US" sz="1400" dirty="0" err="1"/>
              <a:t>Vivamus</a:t>
            </a:r>
            <a:r>
              <a:rPr lang="en-US" sz="1400" dirty="0"/>
              <a:t> </a:t>
            </a:r>
            <a:r>
              <a:rPr lang="en-US" sz="1400" dirty="0" err="1"/>
              <a:t>elementum</a:t>
            </a:r>
            <a:r>
              <a:rPr lang="en-US" sz="1400" dirty="0"/>
              <a:t> semper nisi. </a:t>
            </a:r>
            <a:r>
              <a:rPr lang="en-US" sz="1400" dirty="0" err="1"/>
              <a:t>Aenean</a:t>
            </a:r>
            <a:r>
              <a:rPr lang="en-US" sz="1400" dirty="0"/>
              <a:t> </a:t>
            </a:r>
            <a:r>
              <a:rPr lang="en-US" sz="1400" dirty="0" err="1"/>
              <a:t>vulputate</a:t>
            </a:r>
            <a:r>
              <a:rPr lang="en-US" sz="1400" dirty="0"/>
              <a:t> </a:t>
            </a:r>
            <a:r>
              <a:rPr lang="en-US" sz="1400" dirty="0" err="1"/>
              <a:t>eleifend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endParaRPr lang="ru-RU" sz="1400" b="1" dirty="0"/>
          </a:p>
        </p:txBody>
      </p:sp>
      <p:sp>
        <p:nvSpPr>
          <p:cNvPr id="10" name="Текст 61">
            <a:extLst>
              <a:ext uri="{FF2B5EF4-FFF2-40B4-BE49-F238E27FC236}">
                <a16:creationId xmlns:a16="http://schemas.microsoft.com/office/drawing/2014/main" id="{5D696078-AC2A-D448-B8AC-9F1F4DEAB6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9448" y="3145233"/>
            <a:ext cx="5342414" cy="2556106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lang="ru-RU" sz="3600" b="1" dirty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LOREM IPSUM </a:t>
            </a:r>
            <a:br>
              <a:rPr lang="en-US" dirty="0"/>
            </a:br>
            <a:r>
              <a:rPr lang="en-US" dirty="0"/>
              <a:t>DOLOR SIT AMET, CONSECTETUER ADIPISCING ELIT</a:t>
            </a:r>
            <a:endParaRPr lang="ru-RU" dirty="0"/>
          </a:p>
        </p:txBody>
      </p:sp>
      <p:sp>
        <p:nvSpPr>
          <p:cNvPr id="11" name="Заголовок 55">
            <a:extLst>
              <a:ext uri="{FF2B5EF4-FFF2-40B4-BE49-F238E27FC236}">
                <a16:creationId xmlns:a16="http://schemas.microsoft.com/office/drawing/2014/main" id="{C9173343-0F19-0444-9BFD-E434A9E1F4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01" y="474130"/>
            <a:ext cx="6446949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800" b="1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Заголовок, </a:t>
            </a:r>
            <a:r>
              <a:rPr lang="en" dirty="0"/>
              <a:t>Arial Bold 28 px</a:t>
            </a:r>
            <a:endParaRPr lang="ru-RU" dirty="0"/>
          </a:p>
        </p:txBody>
      </p:sp>
      <p:sp>
        <p:nvSpPr>
          <p:cNvPr id="13" name="Рисунок 10">
            <a:extLst>
              <a:ext uri="{FF2B5EF4-FFF2-40B4-BE49-F238E27FC236}">
                <a16:creationId xmlns:a16="http://schemas.microsoft.com/office/drawing/2014/main" id="{3E100275-C2B2-8348-BCEA-0AC6A39AD10D}"/>
              </a:ext>
            </a:extLst>
          </p:cNvPr>
          <p:cNvSpPr>
            <a:spLocks noChangeAspect="1"/>
          </p:cNvSpPr>
          <p:nvPr userDrawn="1"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4" name="Номер слайда 22">
            <a:extLst>
              <a:ext uri="{FF2B5EF4-FFF2-40B4-BE49-F238E27FC236}">
                <a16:creationId xmlns:a16="http://schemas.microsoft.com/office/drawing/2014/main" id="{2C80FFE2-EDC9-9F45-BF88-83ABD4DA10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885851" y="6401617"/>
            <a:ext cx="2743200" cy="201600"/>
          </a:xfrm>
        </p:spPr>
        <p:txBody>
          <a:bodyPr/>
          <a:lstStyle/>
          <a:p>
            <a:fld id="{1947F118-66FC-BE48-93F4-28945D1606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46149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65">
            <a:extLst>
              <a:ext uri="{FF2B5EF4-FFF2-40B4-BE49-F238E27FC236}">
                <a16:creationId xmlns:a16="http://schemas.microsoft.com/office/drawing/2014/main" id="{C6B5D3AB-BB77-4470-8CDF-66E858C5B5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001" y="1557551"/>
            <a:ext cx="5138736" cy="415206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800">
                <a:solidFill>
                  <a:schemeClr val="tx1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ru-RU" dirty="0"/>
              <a:t>Раздел 1, </a:t>
            </a:r>
            <a:r>
              <a:rPr lang="en-US" dirty="0"/>
              <a:t>Arial Regular 18 px</a:t>
            </a:r>
            <a:endParaRPr lang="ru-RU" dirty="0"/>
          </a:p>
          <a:p>
            <a:pPr lvl="0"/>
            <a:r>
              <a:rPr lang="ru-RU" dirty="0"/>
              <a:t>Раздел 2</a:t>
            </a:r>
          </a:p>
          <a:p>
            <a:pPr lvl="0"/>
            <a:r>
              <a:rPr lang="ru-RU" dirty="0"/>
              <a:t>Раздел 3</a:t>
            </a:r>
          </a:p>
          <a:p>
            <a:pPr lvl="0"/>
            <a:r>
              <a:rPr lang="ru-RU" dirty="0"/>
              <a:t>…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dirty="0"/>
          </a:p>
        </p:txBody>
      </p:sp>
      <p:sp>
        <p:nvSpPr>
          <p:cNvPr id="16" name="Заголовок 55">
            <a:extLst>
              <a:ext uri="{FF2B5EF4-FFF2-40B4-BE49-F238E27FC236}">
                <a16:creationId xmlns:a16="http://schemas.microsoft.com/office/drawing/2014/main" id="{9077DF25-6AC2-4887-92B6-366E7F1F6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01" y="474130"/>
            <a:ext cx="5815780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800" b="1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одержание,</a:t>
            </a:r>
            <a:r>
              <a:rPr lang="en-US" dirty="0"/>
              <a:t> Arial Bold 28 px</a:t>
            </a:r>
            <a:endParaRPr lang="ru-RU" dirty="0"/>
          </a:p>
        </p:txBody>
      </p:sp>
      <p:sp>
        <p:nvSpPr>
          <p:cNvPr id="18" name="Текст 65">
            <a:extLst>
              <a:ext uri="{FF2B5EF4-FFF2-40B4-BE49-F238E27FC236}">
                <a16:creationId xmlns:a16="http://schemas.microsoft.com/office/drawing/2014/main" id="{B78594C9-8275-4F55-A2F4-AC9F78B7F6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5482" y="1557551"/>
            <a:ext cx="504781" cy="415206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800">
                <a:solidFill>
                  <a:schemeClr val="tx1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ru-RU" dirty="0"/>
              <a:t>3</a:t>
            </a:r>
          </a:p>
          <a:p>
            <a:pPr lvl="0"/>
            <a:r>
              <a:rPr lang="ru-RU" dirty="0"/>
              <a:t>4</a:t>
            </a:r>
          </a:p>
          <a:p>
            <a:pPr lvl="0"/>
            <a:r>
              <a:rPr lang="ru-RU" dirty="0"/>
              <a:t>5</a:t>
            </a:r>
          </a:p>
          <a:p>
            <a:pPr lvl="0"/>
            <a:r>
              <a:rPr lang="ru-RU" dirty="0"/>
              <a:t>…</a:t>
            </a:r>
          </a:p>
        </p:txBody>
      </p:sp>
      <p:sp>
        <p:nvSpPr>
          <p:cNvPr id="9" name="Рисунок 10">
            <a:extLst>
              <a:ext uri="{FF2B5EF4-FFF2-40B4-BE49-F238E27FC236}">
                <a16:creationId xmlns:a16="http://schemas.microsoft.com/office/drawing/2014/main" id="{F8A7CFBD-5C4E-CB44-9A35-A2BDD827DBEC}"/>
              </a:ext>
            </a:extLst>
          </p:cNvPr>
          <p:cNvSpPr>
            <a:spLocks noChangeAspect="1"/>
          </p:cNvSpPr>
          <p:nvPr userDrawn="1"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9419D0C-BD03-EF42-AA3B-5508304BAF6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7101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42" userDrawn="1">
          <p15:clr>
            <a:srgbClr val="FBAE40"/>
          </p15:clr>
        </p15:guide>
        <p15:guide id="2" orient="horz" pos="413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Заголовок 55">
            <a:extLst>
              <a:ext uri="{FF2B5EF4-FFF2-40B4-BE49-F238E27FC236}">
                <a16:creationId xmlns:a16="http://schemas.microsoft.com/office/drawing/2014/main" id="{DC51EB6C-31E5-4D99-A2C2-6835AAE5A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01" y="474130"/>
            <a:ext cx="10566837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800" b="1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, Arial Bold 28 px</a:t>
            </a:r>
            <a:endParaRPr lang="ru-RU" dirty="0"/>
          </a:p>
        </p:txBody>
      </p:sp>
      <p:sp>
        <p:nvSpPr>
          <p:cNvPr id="11" name="Текст 65">
            <a:extLst>
              <a:ext uri="{FF2B5EF4-FFF2-40B4-BE49-F238E27FC236}">
                <a16:creationId xmlns:a16="http://schemas.microsoft.com/office/drawing/2014/main" id="{6CF7A08B-36A1-134F-B2CC-49C6B01DFB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001" y="1249017"/>
            <a:ext cx="5818044" cy="30340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tx1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ru-RU" dirty="0"/>
              <a:t>Текстовый блок, </a:t>
            </a:r>
            <a:r>
              <a:rPr lang="en-US" dirty="0"/>
              <a:t>Arial Regular 18 px</a:t>
            </a:r>
            <a:endParaRPr lang="ru-RU" dirty="0"/>
          </a:p>
        </p:txBody>
      </p:sp>
      <p:sp>
        <p:nvSpPr>
          <p:cNvPr id="6" name="Рисунок 10">
            <a:extLst>
              <a:ext uri="{FF2B5EF4-FFF2-40B4-BE49-F238E27FC236}">
                <a16:creationId xmlns:a16="http://schemas.microsoft.com/office/drawing/2014/main" id="{72B767AB-B371-6E4D-A427-A2C5E9BBFBFE}"/>
              </a:ext>
            </a:extLst>
          </p:cNvPr>
          <p:cNvSpPr>
            <a:spLocks noChangeAspect="1"/>
          </p:cNvSpPr>
          <p:nvPr userDrawn="1"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3" name="Номер слайда 22">
            <a:extLst>
              <a:ext uri="{FF2B5EF4-FFF2-40B4-BE49-F238E27FC236}">
                <a16:creationId xmlns:a16="http://schemas.microsoft.com/office/drawing/2014/main" id="{2A62C8AC-14C3-654F-A332-479463D0B42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900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45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,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55">
            <a:extLst>
              <a:ext uri="{FF2B5EF4-FFF2-40B4-BE49-F238E27FC236}">
                <a16:creationId xmlns:a16="http://schemas.microsoft.com/office/drawing/2014/main" id="{ED9F25B4-5177-4349-979E-EBD5EDE8B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01" y="474130"/>
            <a:ext cx="10566837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800" b="1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, Arial Bold 28 px</a:t>
            </a:r>
            <a:endParaRPr lang="ru-RU" dirty="0"/>
          </a:p>
        </p:txBody>
      </p:sp>
      <p:sp>
        <p:nvSpPr>
          <p:cNvPr id="7" name="Рисунок 10">
            <a:extLst>
              <a:ext uri="{FF2B5EF4-FFF2-40B4-BE49-F238E27FC236}">
                <a16:creationId xmlns:a16="http://schemas.microsoft.com/office/drawing/2014/main" id="{62DE5817-D880-AE48-882B-7FA8DAB20BD6}"/>
              </a:ext>
            </a:extLst>
          </p:cNvPr>
          <p:cNvSpPr>
            <a:spLocks noChangeAspect="1"/>
          </p:cNvSpPr>
          <p:nvPr userDrawn="1"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4A30FA2-C10F-DD4B-BF53-21E4631B37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186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FDB284B0-FB51-0144-B310-2EF8DBF6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034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Место для вставки изображения">
            <a:extLst>
              <a:ext uri="{FF2B5EF4-FFF2-40B4-BE49-F238E27FC236}">
                <a16:creationId xmlns:a16="http://schemas.microsoft.com/office/drawing/2014/main" id="{C0B95414-FC22-422A-A7E3-76E6EAD3C2A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904" y="1905"/>
            <a:ext cx="3563787" cy="6856095"/>
          </a:xfrm>
          <a:custGeom>
            <a:avLst/>
            <a:gdLst>
              <a:gd name="connsiteX0" fmla="*/ 0 w 3600450"/>
              <a:gd name="connsiteY0" fmla="*/ 0 h 6859586"/>
              <a:gd name="connsiteX1" fmla="*/ 2978255 w 3600450"/>
              <a:gd name="connsiteY1" fmla="*/ 1347 h 6859586"/>
              <a:gd name="connsiteX2" fmla="*/ 3592915 w 3600450"/>
              <a:gd name="connsiteY2" fmla="*/ 3002939 h 6859586"/>
              <a:gd name="connsiteX3" fmla="*/ 3600450 w 3600450"/>
              <a:gd name="connsiteY3" fmla="*/ 3416726 h 6859586"/>
              <a:gd name="connsiteX4" fmla="*/ 3600450 w 3600450"/>
              <a:gd name="connsiteY4" fmla="*/ 3454345 h 6859586"/>
              <a:gd name="connsiteX5" fmla="*/ 3596539 w 3600450"/>
              <a:gd name="connsiteY5" fmla="*/ 3857879 h 6859586"/>
              <a:gd name="connsiteX6" fmla="*/ 3029743 w 3600450"/>
              <a:gd name="connsiteY6" fmla="*/ 6859586 h 6859586"/>
              <a:gd name="connsiteX7" fmla="*/ 0 w 3600450"/>
              <a:gd name="connsiteY7" fmla="*/ 6859586 h 6859586"/>
              <a:gd name="connsiteX0" fmla="*/ 0 w 3600450"/>
              <a:gd name="connsiteY0" fmla="*/ 0 h 6859586"/>
              <a:gd name="connsiteX1" fmla="*/ 2982528 w 3600450"/>
              <a:gd name="connsiteY1" fmla="*/ 1347 h 6859586"/>
              <a:gd name="connsiteX2" fmla="*/ 3592915 w 3600450"/>
              <a:gd name="connsiteY2" fmla="*/ 3002939 h 6859586"/>
              <a:gd name="connsiteX3" fmla="*/ 3600450 w 3600450"/>
              <a:gd name="connsiteY3" fmla="*/ 3416726 h 6859586"/>
              <a:gd name="connsiteX4" fmla="*/ 3600450 w 3600450"/>
              <a:gd name="connsiteY4" fmla="*/ 3454345 h 6859586"/>
              <a:gd name="connsiteX5" fmla="*/ 3596539 w 3600450"/>
              <a:gd name="connsiteY5" fmla="*/ 3857879 h 6859586"/>
              <a:gd name="connsiteX6" fmla="*/ 3029743 w 3600450"/>
              <a:gd name="connsiteY6" fmla="*/ 6859586 h 6859586"/>
              <a:gd name="connsiteX7" fmla="*/ 0 w 3600450"/>
              <a:gd name="connsiteY7" fmla="*/ 6859586 h 6859586"/>
              <a:gd name="connsiteX8" fmla="*/ 0 w 3600450"/>
              <a:gd name="connsiteY8" fmla="*/ 0 h 6859586"/>
              <a:gd name="connsiteX0" fmla="*/ 0 w 3600450"/>
              <a:gd name="connsiteY0" fmla="*/ 0 h 6859586"/>
              <a:gd name="connsiteX1" fmla="*/ 3003892 w 3600450"/>
              <a:gd name="connsiteY1" fmla="*/ 5620 h 6859586"/>
              <a:gd name="connsiteX2" fmla="*/ 3592915 w 3600450"/>
              <a:gd name="connsiteY2" fmla="*/ 3002939 h 6859586"/>
              <a:gd name="connsiteX3" fmla="*/ 3600450 w 3600450"/>
              <a:gd name="connsiteY3" fmla="*/ 3416726 h 6859586"/>
              <a:gd name="connsiteX4" fmla="*/ 3600450 w 3600450"/>
              <a:gd name="connsiteY4" fmla="*/ 3454345 h 6859586"/>
              <a:gd name="connsiteX5" fmla="*/ 3596539 w 3600450"/>
              <a:gd name="connsiteY5" fmla="*/ 3857879 h 6859586"/>
              <a:gd name="connsiteX6" fmla="*/ 3029743 w 3600450"/>
              <a:gd name="connsiteY6" fmla="*/ 6859586 h 6859586"/>
              <a:gd name="connsiteX7" fmla="*/ 0 w 3600450"/>
              <a:gd name="connsiteY7" fmla="*/ 6859586 h 6859586"/>
              <a:gd name="connsiteX8" fmla="*/ 0 w 3600450"/>
              <a:gd name="connsiteY8" fmla="*/ 0 h 6859586"/>
              <a:gd name="connsiteX0" fmla="*/ 0 w 3600450"/>
              <a:gd name="connsiteY0" fmla="*/ 0 h 6859586"/>
              <a:gd name="connsiteX1" fmla="*/ 3003892 w 3600450"/>
              <a:gd name="connsiteY1" fmla="*/ 5620 h 6859586"/>
              <a:gd name="connsiteX2" fmla="*/ 3592915 w 3600450"/>
              <a:gd name="connsiteY2" fmla="*/ 3002939 h 6859586"/>
              <a:gd name="connsiteX3" fmla="*/ 3600450 w 3600450"/>
              <a:gd name="connsiteY3" fmla="*/ 3416726 h 6859586"/>
              <a:gd name="connsiteX4" fmla="*/ 3600450 w 3600450"/>
              <a:gd name="connsiteY4" fmla="*/ 3454345 h 6859586"/>
              <a:gd name="connsiteX5" fmla="*/ 3596539 w 3600450"/>
              <a:gd name="connsiteY5" fmla="*/ 3857879 h 6859586"/>
              <a:gd name="connsiteX6" fmla="*/ 3029743 w 3600450"/>
              <a:gd name="connsiteY6" fmla="*/ 6859586 h 6859586"/>
              <a:gd name="connsiteX7" fmla="*/ 0 w 3600450"/>
              <a:gd name="connsiteY7" fmla="*/ 6859586 h 6859586"/>
              <a:gd name="connsiteX8" fmla="*/ 0 w 3600450"/>
              <a:gd name="connsiteY8" fmla="*/ 0 h 6859586"/>
              <a:gd name="connsiteX0" fmla="*/ 0 w 3600450"/>
              <a:gd name="connsiteY0" fmla="*/ 0 h 6859586"/>
              <a:gd name="connsiteX1" fmla="*/ 3003892 w 3600450"/>
              <a:gd name="connsiteY1" fmla="*/ 5620 h 6859586"/>
              <a:gd name="connsiteX2" fmla="*/ 3592915 w 3600450"/>
              <a:gd name="connsiteY2" fmla="*/ 3002939 h 6859586"/>
              <a:gd name="connsiteX3" fmla="*/ 3600450 w 3600450"/>
              <a:gd name="connsiteY3" fmla="*/ 3416726 h 6859586"/>
              <a:gd name="connsiteX4" fmla="*/ 3600450 w 3600450"/>
              <a:gd name="connsiteY4" fmla="*/ 3454345 h 6859586"/>
              <a:gd name="connsiteX5" fmla="*/ 3596539 w 3600450"/>
              <a:gd name="connsiteY5" fmla="*/ 3857879 h 6859586"/>
              <a:gd name="connsiteX6" fmla="*/ 3025470 w 3600450"/>
              <a:gd name="connsiteY6" fmla="*/ 6859586 h 6859586"/>
              <a:gd name="connsiteX7" fmla="*/ 0 w 3600450"/>
              <a:gd name="connsiteY7" fmla="*/ 6859586 h 6859586"/>
              <a:gd name="connsiteX8" fmla="*/ 0 w 3600450"/>
              <a:gd name="connsiteY8" fmla="*/ 0 h 6859586"/>
              <a:gd name="connsiteX0" fmla="*/ 0 w 3630759"/>
              <a:gd name="connsiteY0" fmla="*/ 0 h 6859586"/>
              <a:gd name="connsiteX1" fmla="*/ 3003892 w 3630759"/>
              <a:gd name="connsiteY1" fmla="*/ 5620 h 6859586"/>
              <a:gd name="connsiteX2" fmla="*/ 3592915 w 3630759"/>
              <a:gd name="connsiteY2" fmla="*/ 3002939 h 6859586"/>
              <a:gd name="connsiteX3" fmla="*/ 3600450 w 3630759"/>
              <a:gd name="connsiteY3" fmla="*/ 3416726 h 6859586"/>
              <a:gd name="connsiteX4" fmla="*/ 3600450 w 3630759"/>
              <a:gd name="connsiteY4" fmla="*/ 3454345 h 6859586"/>
              <a:gd name="connsiteX5" fmla="*/ 3630722 w 3630759"/>
              <a:gd name="connsiteY5" fmla="*/ 3857879 h 6859586"/>
              <a:gd name="connsiteX6" fmla="*/ 3025470 w 3630759"/>
              <a:gd name="connsiteY6" fmla="*/ 6859586 h 6859586"/>
              <a:gd name="connsiteX7" fmla="*/ 0 w 3630759"/>
              <a:gd name="connsiteY7" fmla="*/ 6859586 h 6859586"/>
              <a:gd name="connsiteX8" fmla="*/ 0 w 3630759"/>
              <a:gd name="connsiteY8" fmla="*/ 0 h 6859586"/>
              <a:gd name="connsiteX0" fmla="*/ 0 w 3630759"/>
              <a:gd name="connsiteY0" fmla="*/ 0 h 6859586"/>
              <a:gd name="connsiteX1" fmla="*/ 3003892 w 3630759"/>
              <a:gd name="connsiteY1" fmla="*/ 5620 h 6859586"/>
              <a:gd name="connsiteX2" fmla="*/ 3592915 w 3630759"/>
              <a:gd name="connsiteY2" fmla="*/ 3002939 h 6859586"/>
              <a:gd name="connsiteX3" fmla="*/ 3600450 w 3630759"/>
              <a:gd name="connsiteY3" fmla="*/ 3416726 h 6859586"/>
              <a:gd name="connsiteX4" fmla="*/ 3600450 w 3630759"/>
              <a:gd name="connsiteY4" fmla="*/ 3454345 h 6859586"/>
              <a:gd name="connsiteX5" fmla="*/ 3630722 w 3630759"/>
              <a:gd name="connsiteY5" fmla="*/ 3857879 h 6859586"/>
              <a:gd name="connsiteX6" fmla="*/ 3025470 w 3630759"/>
              <a:gd name="connsiteY6" fmla="*/ 6859586 h 6859586"/>
              <a:gd name="connsiteX7" fmla="*/ 0 w 3630759"/>
              <a:gd name="connsiteY7" fmla="*/ 6859586 h 6859586"/>
              <a:gd name="connsiteX8" fmla="*/ 0 w 3630759"/>
              <a:gd name="connsiteY8" fmla="*/ 0 h 6859586"/>
              <a:gd name="connsiteX0" fmla="*/ 0 w 3630759"/>
              <a:gd name="connsiteY0" fmla="*/ 0 h 6859586"/>
              <a:gd name="connsiteX1" fmla="*/ 3003892 w 3630759"/>
              <a:gd name="connsiteY1" fmla="*/ 5620 h 6859586"/>
              <a:gd name="connsiteX2" fmla="*/ 3618553 w 3630759"/>
              <a:gd name="connsiteY2" fmla="*/ 3007212 h 6859586"/>
              <a:gd name="connsiteX3" fmla="*/ 3600450 w 3630759"/>
              <a:gd name="connsiteY3" fmla="*/ 3416726 h 6859586"/>
              <a:gd name="connsiteX4" fmla="*/ 3600450 w 3630759"/>
              <a:gd name="connsiteY4" fmla="*/ 3454345 h 6859586"/>
              <a:gd name="connsiteX5" fmla="*/ 3630722 w 3630759"/>
              <a:gd name="connsiteY5" fmla="*/ 3857879 h 6859586"/>
              <a:gd name="connsiteX6" fmla="*/ 3025470 w 3630759"/>
              <a:gd name="connsiteY6" fmla="*/ 6859586 h 6859586"/>
              <a:gd name="connsiteX7" fmla="*/ 0 w 3630759"/>
              <a:gd name="connsiteY7" fmla="*/ 6859586 h 6859586"/>
              <a:gd name="connsiteX8" fmla="*/ 0 w 3630759"/>
              <a:gd name="connsiteY8" fmla="*/ 0 h 6859586"/>
              <a:gd name="connsiteX0" fmla="*/ 0 w 3630759"/>
              <a:gd name="connsiteY0" fmla="*/ 0 h 6859586"/>
              <a:gd name="connsiteX1" fmla="*/ 3003892 w 3630759"/>
              <a:gd name="connsiteY1" fmla="*/ 5620 h 6859586"/>
              <a:gd name="connsiteX2" fmla="*/ 3618553 w 3630759"/>
              <a:gd name="connsiteY2" fmla="*/ 3007212 h 6859586"/>
              <a:gd name="connsiteX3" fmla="*/ 3600450 w 3630759"/>
              <a:gd name="connsiteY3" fmla="*/ 3416726 h 6859586"/>
              <a:gd name="connsiteX4" fmla="*/ 3600450 w 3630759"/>
              <a:gd name="connsiteY4" fmla="*/ 3454345 h 6859586"/>
              <a:gd name="connsiteX5" fmla="*/ 3630722 w 3630759"/>
              <a:gd name="connsiteY5" fmla="*/ 3857879 h 6859586"/>
              <a:gd name="connsiteX6" fmla="*/ 3025470 w 3630759"/>
              <a:gd name="connsiteY6" fmla="*/ 6859586 h 6859586"/>
              <a:gd name="connsiteX7" fmla="*/ 0 w 3630759"/>
              <a:gd name="connsiteY7" fmla="*/ 6859586 h 6859586"/>
              <a:gd name="connsiteX8" fmla="*/ 0 w 3630759"/>
              <a:gd name="connsiteY8" fmla="*/ 0 h 6859586"/>
              <a:gd name="connsiteX0" fmla="*/ 0 w 3638906"/>
              <a:gd name="connsiteY0" fmla="*/ 0 h 6859586"/>
              <a:gd name="connsiteX1" fmla="*/ 3003892 w 3638906"/>
              <a:gd name="connsiteY1" fmla="*/ 5620 h 6859586"/>
              <a:gd name="connsiteX2" fmla="*/ 3618553 w 3638906"/>
              <a:gd name="connsiteY2" fmla="*/ 3007212 h 6859586"/>
              <a:gd name="connsiteX3" fmla="*/ 3600450 w 3638906"/>
              <a:gd name="connsiteY3" fmla="*/ 3416726 h 6859586"/>
              <a:gd name="connsiteX4" fmla="*/ 3638906 w 3638906"/>
              <a:gd name="connsiteY4" fmla="*/ 3458618 h 6859586"/>
              <a:gd name="connsiteX5" fmla="*/ 3630722 w 3638906"/>
              <a:gd name="connsiteY5" fmla="*/ 3857879 h 6859586"/>
              <a:gd name="connsiteX6" fmla="*/ 3025470 w 3638906"/>
              <a:gd name="connsiteY6" fmla="*/ 6859586 h 6859586"/>
              <a:gd name="connsiteX7" fmla="*/ 0 w 3638906"/>
              <a:gd name="connsiteY7" fmla="*/ 6859586 h 6859586"/>
              <a:gd name="connsiteX8" fmla="*/ 0 w 3638906"/>
              <a:gd name="connsiteY8" fmla="*/ 0 h 6859586"/>
              <a:gd name="connsiteX0" fmla="*/ 0 w 3638906"/>
              <a:gd name="connsiteY0" fmla="*/ 0 h 6859586"/>
              <a:gd name="connsiteX1" fmla="*/ 3003892 w 3638906"/>
              <a:gd name="connsiteY1" fmla="*/ 5620 h 6859586"/>
              <a:gd name="connsiteX2" fmla="*/ 3618553 w 3638906"/>
              <a:gd name="connsiteY2" fmla="*/ 3007212 h 6859586"/>
              <a:gd name="connsiteX3" fmla="*/ 3638906 w 3638906"/>
              <a:gd name="connsiteY3" fmla="*/ 3420999 h 6859586"/>
              <a:gd name="connsiteX4" fmla="*/ 3638906 w 3638906"/>
              <a:gd name="connsiteY4" fmla="*/ 3458618 h 6859586"/>
              <a:gd name="connsiteX5" fmla="*/ 3630722 w 3638906"/>
              <a:gd name="connsiteY5" fmla="*/ 3857879 h 6859586"/>
              <a:gd name="connsiteX6" fmla="*/ 3025470 w 3638906"/>
              <a:gd name="connsiteY6" fmla="*/ 6859586 h 6859586"/>
              <a:gd name="connsiteX7" fmla="*/ 0 w 3638906"/>
              <a:gd name="connsiteY7" fmla="*/ 6859586 h 6859586"/>
              <a:gd name="connsiteX8" fmla="*/ 0 w 3638906"/>
              <a:gd name="connsiteY8" fmla="*/ 0 h 6859586"/>
              <a:gd name="connsiteX0" fmla="*/ 74295 w 3638906"/>
              <a:gd name="connsiteY0" fmla="*/ 0 h 6857681"/>
              <a:gd name="connsiteX1" fmla="*/ 3003892 w 3638906"/>
              <a:gd name="connsiteY1" fmla="*/ 3715 h 6857681"/>
              <a:gd name="connsiteX2" fmla="*/ 3618553 w 3638906"/>
              <a:gd name="connsiteY2" fmla="*/ 3005307 h 6857681"/>
              <a:gd name="connsiteX3" fmla="*/ 3638906 w 3638906"/>
              <a:gd name="connsiteY3" fmla="*/ 3419094 h 6857681"/>
              <a:gd name="connsiteX4" fmla="*/ 3638906 w 3638906"/>
              <a:gd name="connsiteY4" fmla="*/ 3456713 h 6857681"/>
              <a:gd name="connsiteX5" fmla="*/ 3630722 w 3638906"/>
              <a:gd name="connsiteY5" fmla="*/ 3855974 h 6857681"/>
              <a:gd name="connsiteX6" fmla="*/ 3025470 w 3638906"/>
              <a:gd name="connsiteY6" fmla="*/ 6857681 h 6857681"/>
              <a:gd name="connsiteX7" fmla="*/ 0 w 3638906"/>
              <a:gd name="connsiteY7" fmla="*/ 6857681 h 6857681"/>
              <a:gd name="connsiteX8" fmla="*/ 74295 w 3638906"/>
              <a:gd name="connsiteY8" fmla="*/ 0 h 6857681"/>
              <a:gd name="connsiteX0" fmla="*/ 0 w 3564611"/>
              <a:gd name="connsiteY0" fmla="*/ 0 h 6857681"/>
              <a:gd name="connsiteX1" fmla="*/ 2929597 w 3564611"/>
              <a:gd name="connsiteY1" fmla="*/ 3715 h 6857681"/>
              <a:gd name="connsiteX2" fmla="*/ 3544258 w 3564611"/>
              <a:gd name="connsiteY2" fmla="*/ 3005307 h 6857681"/>
              <a:gd name="connsiteX3" fmla="*/ 3564611 w 3564611"/>
              <a:gd name="connsiteY3" fmla="*/ 3419094 h 6857681"/>
              <a:gd name="connsiteX4" fmla="*/ 3564611 w 3564611"/>
              <a:gd name="connsiteY4" fmla="*/ 3456713 h 6857681"/>
              <a:gd name="connsiteX5" fmla="*/ 3556427 w 3564611"/>
              <a:gd name="connsiteY5" fmla="*/ 3855974 h 6857681"/>
              <a:gd name="connsiteX6" fmla="*/ 2951175 w 3564611"/>
              <a:gd name="connsiteY6" fmla="*/ 6857681 h 6857681"/>
              <a:gd name="connsiteX7" fmla="*/ 1905 w 3564611"/>
              <a:gd name="connsiteY7" fmla="*/ 6855776 h 6857681"/>
              <a:gd name="connsiteX8" fmla="*/ 0 w 3564611"/>
              <a:gd name="connsiteY8" fmla="*/ 0 h 6857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64611" h="6857681">
                <a:moveTo>
                  <a:pt x="0" y="0"/>
                </a:moveTo>
                <a:lnTo>
                  <a:pt x="2929597" y="3715"/>
                </a:lnTo>
                <a:cubicBezTo>
                  <a:pt x="3339889" y="1062708"/>
                  <a:pt x="3492538" y="2021433"/>
                  <a:pt x="3544258" y="3005307"/>
                </a:cubicBezTo>
                <a:lnTo>
                  <a:pt x="3564611" y="3419094"/>
                </a:lnTo>
                <a:lnTo>
                  <a:pt x="3564611" y="3456713"/>
                </a:lnTo>
                <a:cubicBezTo>
                  <a:pt x="3563307" y="3591224"/>
                  <a:pt x="3557731" y="3721463"/>
                  <a:pt x="3556427" y="3855974"/>
                </a:cubicBezTo>
                <a:cubicBezTo>
                  <a:pt x="3520356" y="4853730"/>
                  <a:pt x="3333460" y="5845055"/>
                  <a:pt x="2951175" y="6857681"/>
                </a:cubicBezTo>
                <a:lnTo>
                  <a:pt x="1905" y="6855776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>
            <a:noAutofit/>
          </a:bodyPr>
          <a:lstStyle/>
          <a:p>
            <a:endParaRPr lang="ru-RU" dirty="0"/>
          </a:p>
        </p:txBody>
      </p:sp>
      <p:sp>
        <p:nvSpPr>
          <p:cNvPr id="13" name="Заголовок 55">
            <a:extLst>
              <a:ext uri="{FF2B5EF4-FFF2-40B4-BE49-F238E27FC236}">
                <a16:creationId xmlns:a16="http://schemas.microsoft.com/office/drawing/2014/main" id="{DEBAD45C-7462-418C-BF8F-06900897EA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798" y="474130"/>
            <a:ext cx="7002192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Заголовок, </a:t>
            </a:r>
            <a:r>
              <a:rPr lang="en" dirty="0"/>
              <a:t>Arial Bold 28 px</a:t>
            </a:r>
            <a:endParaRPr lang="ru-RU" dirty="0"/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9B0A53AA-F83B-E340-BC22-B3B1B08CA8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3798" y="1241156"/>
            <a:ext cx="5801915" cy="35096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Текстовый блок, </a:t>
            </a:r>
            <a:r>
              <a:rPr lang="en-US" dirty="0"/>
              <a:t>Arial Regular 18 px</a:t>
            </a:r>
            <a:endParaRPr lang="ru-RU" dirty="0"/>
          </a:p>
        </p:txBody>
      </p:sp>
      <p:sp>
        <p:nvSpPr>
          <p:cNvPr id="12" name="Рисунок 10">
            <a:extLst>
              <a:ext uri="{FF2B5EF4-FFF2-40B4-BE49-F238E27FC236}">
                <a16:creationId xmlns:a16="http://schemas.microsoft.com/office/drawing/2014/main" id="{C7CDFF4C-0276-D340-8C66-6B2E05C9A254}"/>
              </a:ext>
            </a:extLst>
          </p:cNvPr>
          <p:cNvSpPr>
            <a:spLocks noChangeAspect="1"/>
          </p:cNvSpPr>
          <p:nvPr userDrawn="1"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chemeClr val="bg1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6C1D98E-E615-A449-B467-50E12480F6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Рисунок 10">
            <a:extLst>
              <a:ext uri="{FF2B5EF4-FFF2-40B4-BE49-F238E27FC236}">
                <a16:creationId xmlns:a16="http://schemas.microsoft.com/office/drawing/2014/main" id="{C0344AB0-BA65-6C48-917F-7A28AB8FE210}"/>
              </a:ext>
            </a:extLst>
          </p:cNvPr>
          <p:cNvSpPr>
            <a:spLocks noChangeAspect="1"/>
          </p:cNvSpPr>
          <p:nvPr userDrawn="1"/>
        </p:nvSpPr>
        <p:spPr>
          <a:xfrm>
            <a:off x="739554" y="65747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8460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42" userDrawn="1">
          <p15:clr>
            <a:srgbClr val="FBAE40"/>
          </p15:clr>
        </p15:guide>
        <p15:guide id="2" orient="horz" pos="4133" userDrawn="1">
          <p15:clr>
            <a:srgbClr val="FBAE40"/>
          </p15:clr>
        </p15:guide>
        <p15:guide id="3" pos="268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808FDB-A5C2-8648-AE51-92D9596096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82203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Текст 61">
            <a:extLst>
              <a:ext uri="{FF2B5EF4-FFF2-40B4-BE49-F238E27FC236}">
                <a16:creationId xmlns:a16="http://schemas.microsoft.com/office/drawing/2014/main" id="{E632C2EB-777B-455A-9A8D-F59F00B527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001" y="2936558"/>
            <a:ext cx="5634953" cy="98488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lang="ru-RU" sz="3200" b="1" dirty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Разделитель.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ок, </a:t>
            </a:r>
            <a:r>
              <a:rPr lang="en-US" dirty="0"/>
              <a:t>Arial Bold 32 </a:t>
            </a:r>
            <a:r>
              <a:rPr lang="en-US" dirty="0" err="1"/>
              <a:t>pt</a:t>
            </a:r>
            <a:endParaRPr lang="ru-RU" dirty="0"/>
          </a:p>
        </p:txBody>
      </p:sp>
      <p:sp>
        <p:nvSpPr>
          <p:cNvPr id="4" name="Рисунок 10">
            <a:extLst>
              <a:ext uri="{FF2B5EF4-FFF2-40B4-BE49-F238E27FC236}">
                <a16:creationId xmlns:a16="http://schemas.microsoft.com/office/drawing/2014/main" id="{72B767AB-B371-6E4D-A427-A2C5E9BBFBFE}"/>
              </a:ext>
            </a:extLst>
          </p:cNvPr>
          <p:cNvSpPr>
            <a:spLocks noChangeAspect="1"/>
          </p:cNvSpPr>
          <p:nvPr userDrawn="1"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2933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A44E6C25-E706-7044-AAEA-3FD3250E2E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ru-RU"/>
          </a:p>
        </p:txBody>
      </p: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808FDB-A5C2-8648-AE51-92D9596096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572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808FDB-A5C2-8648-AE51-92D959609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Текст 61">
            <a:extLst>
              <a:ext uri="{FF2B5EF4-FFF2-40B4-BE49-F238E27FC236}">
                <a16:creationId xmlns:a16="http://schemas.microsoft.com/office/drawing/2014/main" id="{E632C2EB-777B-455A-9A8D-F59F00B527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002" y="2690336"/>
            <a:ext cx="4082252" cy="1477328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lang="ru-RU" sz="3200" b="1" dirty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Разделитель.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ок, </a:t>
            </a:r>
            <a:r>
              <a:rPr lang="en-US" dirty="0"/>
              <a:t>Arial Bold 32 </a:t>
            </a:r>
            <a:r>
              <a:rPr lang="en-US" dirty="0" err="1"/>
              <a:t>pt</a:t>
            </a:r>
            <a:endParaRPr lang="ru-RU" dirty="0"/>
          </a:p>
        </p:txBody>
      </p:sp>
      <p:sp>
        <p:nvSpPr>
          <p:cNvPr id="5" name="Рисунок 10">
            <a:extLst>
              <a:ext uri="{FF2B5EF4-FFF2-40B4-BE49-F238E27FC236}">
                <a16:creationId xmlns:a16="http://schemas.microsoft.com/office/drawing/2014/main" id="{72B767AB-B371-6E4D-A427-A2C5E9BBFBFE}"/>
              </a:ext>
            </a:extLst>
          </p:cNvPr>
          <p:cNvSpPr>
            <a:spLocks noChangeAspect="1"/>
          </p:cNvSpPr>
          <p:nvPr userDrawn="1"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247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06ECB14-99E9-094C-8344-5CF7740157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617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DEAEE1B-ACB8-0A42-8DC4-2E8D6CABC24D}"/>
              </a:ext>
            </a:extLst>
          </p:cNvPr>
          <p:cNvSpPr/>
          <p:nvPr userDrawn="1"/>
        </p:nvSpPr>
        <p:spPr>
          <a:xfrm>
            <a:off x="-45595" y="0"/>
            <a:ext cx="1227734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96C61C5-AA82-0F47-A66B-3D3424B50B7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403524" y="-6808017"/>
            <a:ext cx="9307812" cy="930781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3DE3911-B2A4-0A47-B715-7BEBB0AAAA7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20873878" flipH="1">
            <a:off x="6035771" y="1082592"/>
            <a:ext cx="7562637" cy="6423232"/>
          </a:xfrm>
          <a:prstGeom prst="rect">
            <a:avLst/>
          </a:prstGeom>
        </p:spPr>
      </p:pic>
      <p:sp>
        <p:nvSpPr>
          <p:cNvPr id="4" name="Рисунок 10">
            <a:extLst>
              <a:ext uri="{FF2B5EF4-FFF2-40B4-BE49-F238E27FC236}">
                <a16:creationId xmlns:a16="http://schemas.microsoft.com/office/drawing/2014/main" id="{4DAF31D9-9FF8-E84E-BBBD-42C809BAA50E}"/>
              </a:ext>
            </a:extLst>
          </p:cNvPr>
          <p:cNvSpPr/>
          <p:nvPr userDrawn="1"/>
        </p:nvSpPr>
        <p:spPr>
          <a:xfrm>
            <a:off x="3797954" y="1914377"/>
            <a:ext cx="4596092" cy="118673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chemeClr val="bg1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FE2DD7-AC16-2644-B3F2-579F19C21372}"/>
              </a:ext>
            </a:extLst>
          </p:cNvPr>
          <p:cNvSpPr txBox="1"/>
          <p:nvPr userDrawn="1"/>
        </p:nvSpPr>
        <p:spPr>
          <a:xfrm>
            <a:off x="3659744" y="3441085"/>
            <a:ext cx="524454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0" i="0" dirty="0">
                <a:solidFill>
                  <a:schemeClr val="bg1"/>
                </a:solidFill>
                <a:latin typeface="Circe Light" panose="020B0402020203020203" pitchFamily="34" charset="0"/>
              </a:rPr>
              <a:t>ИНТЕГРИРУЕМ</a:t>
            </a:r>
          </a:p>
          <a:p>
            <a:r>
              <a:rPr lang="ru-RU" sz="3200" b="0" i="0" dirty="0">
                <a:solidFill>
                  <a:schemeClr val="bg1"/>
                </a:solidFill>
                <a:latin typeface="Circe Light" panose="020B0402020203020203" pitchFamily="34" charset="0"/>
              </a:rPr>
              <a:t>БУДУЩЕЕ</a:t>
            </a:r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BB316170-C817-9E4A-B408-2F1B2DB5CF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3579" y="5457413"/>
            <a:ext cx="2876955" cy="280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ru-RU" sz="1800" b="1" kern="120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Автор</a:t>
            </a:r>
          </a:p>
        </p:txBody>
      </p:sp>
      <p:sp>
        <p:nvSpPr>
          <p:cNvPr id="7" name="Текст 4">
            <a:extLst>
              <a:ext uri="{FF2B5EF4-FFF2-40B4-BE49-F238E27FC236}">
                <a16:creationId xmlns:a16="http://schemas.microsoft.com/office/drawing/2014/main" id="{53B018DB-CD21-5B4D-A6A8-45A29B1430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579" y="5826382"/>
            <a:ext cx="2876955" cy="2492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lang="ru-RU" sz="1600" b="0" kern="120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8" name="Текст 4">
            <a:extLst>
              <a:ext uri="{FF2B5EF4-FFF2-40B4-BE49-F238E27FC236}">
                <a16:creationId xmlns:a16="http://schemas.microsoft.com/office/drawing/2014/main" id="{F182801B-5D2F-3941-B58C-83CD42DAC1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214" y="5457412"/>
            <a:ext cx="3450700" cy="92127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600" b="0" kern="120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Телефон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Телефон</a:t>
            </a:r>
          </a:p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6819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55">
            <a:extLst>
              <a:ext uri="{FF2B5EF4-FFF2-40B4-BE49-F238E27FC236}">
                <a16:creationId xmlns:a16="http://schemas.microsoft.com/office/drawing/2014/main" id="{725CF145-AAAC-AC40-958B-BF45626B5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01" y="474130"/>
            <a:ext cx="10566837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800" b="1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, Arial Bold 28 px</a:t>
            </a:r>
            <a:endParaRPr lang="ru-RU" dirty="0"/>
          </a:p>
        </p:txBody>
      </p:sp>
      <p:sp>
        <p:nvSpPr>
          <p:cNvPr id="8" name="Рисунок 10">
            <a:extLst>
              <a:ext uri="{FF2B5EF4-FFF2-40B4-BE49-F238E27FC236}">
                <a16:creationId xmlns:a16="http://schemas.microsoft.com/office/drawing/2014/main" id="{C0344AB0-BA65-6C48-917F-7A28AB8FE210}"/>
              </a:ext>
            </a:extLst>
          </p:cNvPr>
          <p:cNvSpPr>
            <a:spLocks noChangeAspect="1"/>
          </p:cNvSpPr>
          <p:nvPr userDrawn="1"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Номер слайда 22">
            <a:extLst>
              <a:ext uri="{FF2B5EF4-FFF2-40B4-BE49-F238E27FC236}">
                <a16:creationId xmlns:a16="http://schemas.microsoft.com/office/drawing/2014/main" id="{FEC3344C-88A1-B341-9B18-816D221AEA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885851" y="6401617"/>
            <a:ext cx="2743200" cy="201600"/>
          </a:xfrm>
        </p:spPr>
        <p:txBody>
          <a:bodyPr/>
          <a:lstStyle/>
          <a:p>
            <a:fld id="{1947F118-66FC-BE48-93F4-28945D1606A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3497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CBAAE83D-D13E-6747-B2FA-77A2C9539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49855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" name="Слайд think-cell" r:id="rId16" imgW="7772400" imgH="10058400" progId="TCLayout.ActiveDocument.1">
                  <p:embed/>
                </p:oleObj>
              </mc:Choice>
              <mc:Fallback>
                <p:oleObj name="Слайд think-cell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F8D9216C-F588-874E-9EBA-E05667CEA0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6001" y="1549928"/>
            <a:ext cx="6266602" cy="6181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49" name="Номер слайда 48">
            <a:extLst>
              <a:ext uri="{FF2B5EF4-FFF2-40B4-BE49-F238E27FC236}">
                <a16:creationId xmlns:a16="http://schemas.microsoft.com/office/drawing/2014/main" id="{50A22993-A7B4-F447-A95E-079F5D94A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851" y="6401617"/>
            <a:ext cx="2743200" cy="20160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1947F118-66FC-BE48-93F4-28945D1606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052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74" r:id="rId2"/>
    <p:sldLayoutId id="2147483712" r:id="rId3"/>
    <p:sldLayoutId id="2147483713" r:id="rId4"/>
    <p:sldLayoutId id="2147483738" r:id="rId5"/>
    <p:sldLayoutId id="2147483672" r:id="rId6"/>
    <p:sldLayoutId id="2147483746" r:id="rId7"/>
    <p:sldLayoutId id="2147483742" r:id="rId8"/>
    <p:sldLayoutId id="2147483749" r:id="rId9"/>
    <p:sldLayoutId id="2147483751" r:id="rId10"/>
    <p:sldLayoutId id="2147483754" r:id="rId11"/>
    <p:sldLayoutId id="2147483755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75000"/>
          </a:schemeClr>
        </a:buClr>
        <a:buFont typeface="Arial" panose="020B0604020202020204" pitchFamily="34" charset="0"/>
        <a:buChar char="•"/>
        <a:defRPr sz="1800" kern="1200" baseline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75000"/>
          </a:schemeClr>
        </a:buClr>
        <a:buSzPct val="80000"/>
        <a:buFont typeface="Arial" panose="020B0604020202020204" pitchFamily="34" charset="0"/>
        <a:buChar char="•"/>
        <a:defRPr sz="1800" kern="1200" baseline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00000"/>
        </a:lnSpc>
        <a:spcBef>
          <a:spcPts val="0"/>
        </a:spcBef>
        <a:buClr>
          <a:schemeClr val="tx1">
            <a:lumMod val="75000"/>
          </a:schemeClr>
        </a:buClr>
        <a:buSzPct val="6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19" pos="7310" userDrawn="1">
          <p15:clr>
            <a:srgbClr val="F26B43"/>
          </p15:clr>
        </p15:guide>
        <p15:guide id="20" orient="horz" pos="3952" userDrawn="1">
          <p15:clr>
            <a:srgbClr val="F26B43"/>
          </p15:clr>
        </p15:guide>
        <p15:guide id="21" orient="horz" pos="3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10" Type="http://schemas.openxmlformats.org/officeDocument/2006/relationships/image" Target="../media/image36.png"/><Relationship Id="rId9" Type="http://schemas.openxmlformats.org/officeDocument/2006/relationships/image" Target="../media/image1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3" Type="http://schemas.openxmlformats.org/officeDocument/2006/relationships/notesSlide" Target="../notesSlides/notesSlide9.xml"/><Relationship Id="rId63" Type="http://schemas.openxmlformats.org/officeDocument/2006/relationships/image" Target="../media/image95.svg"/><Relationship Id="rId12" Type="http://schemas.openxmlformats.org/officeDocument/2006/relationships/image" Target="../media/image40.png"/><Relationship Id="rId17" Type="http://schemas.openxmlformats.org/officeDocument/2006/relationships/image" Target="../media/image490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11" Type="http://schemas.openxmlformats.org/officeDocument/2006/relationships/image" Target="../media/image2.png"/><Relationship Id="rId5" Type="http://schemas.openxmlformats.org/officeDocument/2006/relationships/image" Target="../media/image38.png"/><Relationship Id="rId10" Type="http://schemas.openxmlformats.org/officeDocument/2006/relationships/image" Target="../media/image67.svg"/><Relationship Id="rId4" Type="http://schemas.openxmlformats.org/officeDocument/2006/relationships/image" Target="../media/image37.jpg"/><Relationship Id="rId9" Type="http://schemas.openxmlformats.org/officeDocument/2006/relationships/image" Target="../media/image39.png"/><Relationship Id="rId6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138.svg"/><Relationship Id="rId3" Type="http://schemas.openxmlformats.org/officeDocument/2006/relationships/image" Target="../media/image45.png"/><Relationship Id="rId7" Type="http://schemas.openxmlformats.org/officeDocument/2006/relationships/image" Target="../media/image132.svg"/><Relationship Id="rId12" Type="http://schemas.openxmlformats.org/officeDocument/2006/relationships/image" Target="../media/image51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49.sv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8.png"/><Relationship Id="rId11" Type="http://schemas.openxmlformats.org/officeDocument/2006/relationships/image" Target="../media/image136.svg"/><Relationship Id="rId5" Type="http://schemas.openxmlformats.org/officeDocument/2006/relationships/image" Target="../media/image47.emf"/><Relationship Id="rId15" Type="http://schemas.openxmlformats.org/officeDocument/2006/relationships/image" Target="../media/image34.png"/><Relationship Id="rId10" Type="http://schemas.openxmlformats.org/officeDocument/2006/relationships/image" Target="../media/image50.png"/><Relationship Id="rId4" Type="http://schemas.openxmlformats.org/officeDocument/2006/relationships/image" Target="../media/image46.png"/><Relationship Id="rId9" Type="http://schemas.openxmlformats.org/officeDocument/2006/relationships/image" Target="../media/image134.svg"/><Relationship Id="rId14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3.png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53.png"/><Relationship Id="rId7" Type="http://schemas.openxmlformats.org/officeDocument/2006/relationships/image" Target="../media/image55.png"/><Relationship Id="rId12" Type="http://schemas.openxmlformats.org/officeDocument/2006/relationships/image" Target="../media/image34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28.svg"/><Relationship Id="rId11" Type="http://schemas.openxmlformats.org/officeDocument/2006/relationships/image" Target="../media/image57.png"/><Relationship Id="rId5" Type="http://schemas.openxmlformats.org/officeDocument/2006/relationships/image" Target="../media/image54.png"/><Relationship Id="rId10" Type="http://schemas.openxmlformats.org/officeDocument/2006/relationships/image" Target="../media/image32.svg"/><Relationship Id="rId4" Type="http://schemas.microsoft.com/office/2007/relationships/hdphoto" Target="../media/hdphoto2.wdp"/><Relationship Id="rId9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.png"/><Relationship Id="rId4" Type="http://schemas.openxmlformats.org/officeDocument/2006/relationships/image" Target="../media/image75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4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4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89" Type="http://schemas.openxmlformats.org/officeDocument/2006/relationships/image" Target="../media/image239.svg"/><Relationship Id="rId2" Type="http://schemas.openxmlformats.org/officeDocument/2006/relationships/notesSlide" Target="../notesSlides/notesSlide2.xml"/><Relationship Id="rId13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131" Type="http://schemas.openxmlformats.org/officeDocument/2006/relationships/image" Target="../media/image281.svg"/><Relationship Id="rId5" Type="http://schemas.openxmlformats.org/officeDocument/2006/relationships/image" Target="../media/image16.png"/><Relationship Id="rId28" Type="http://schemas.openxmlformats.org/officeDocument/2006/relationships/image" Target="../media/image18.png"/><Relationship Id="rId10" Type="http://schemas.openxmlformats.org/officeDocument/2006/relationships/image" Target="../media/image17.png"/><Relationship Id="rId4" Type="http://schemas.openxmlformats.org/officeDocument/2006/relationships/image" Target="../media/image29.svg"/><Relationship Id="rId9" Type="http://schemas.openxmlformats.org/officeDocument/2006/relationships/image" Target="../media/image35.svg"/><Relationship Id="rId27" Type="http://schemas.openxmlformats.org/officeDocument/2006/relationships/image" Target="../media/image17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70.svg"/><Relationship Id="rId89" Type="http://schemas.openxmlformats.org/officeDocument/2006/relationships/image" Target="../media/image239.svg"/><Relationship Id="rId7" Type="http://schemas.openxmlformats.org/officeDocument/2006/relationships/image" Target="../media/image174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6.png"/><Relationship Id="rId5" Type="http://schemas.openxmlformats.org/officeDocument/2006/relationships/image" Target="../media/image172.svg"/><Relationship Id="rId10" Type="http://schemas.openxmlformats.org/officeDocument/2006/relationships/image" Target="../media/image28.png"/><Relationship Id="rId4" Type="http://schemas.openxmlformats.org/officeDocument/2006/relationships/image" Target="../media/image25.png"/><Relationship Id="rId9" Type="http://schemas.openxmlformats.org/officeDocument/2006/relationships/image" Target="../media/image176.svg"/></Relationships>
</file>

<file path=ppt/slides/_rels/slide6.xml.rels><?xml version="1.0" encoding="UTF-8" standalone="yes"?>
<Relationships xmlns="http://schemas.openxmlformats.org/package/2006/relationships"><Relationship Id="rId72" Type="http://schemas.openxmlformats.org/officeDocument/2006/relationships/image" Target="../media/image31.png"/><Relationship Id="rId3" Type="http://schemas.openxmlformats.org/officeDocument/2006/relationships/image" Target="../media/image29.png"/><Relationship Id="rId71" Type="http://schemas.openxmlformats.org/officeDocument/2006/relationships/image" Target="../media/image22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5" Type="http://schemas.openxmlformats.org/officeDocument/2006/relationships/image" Target="../media/image195.svg"/><Relationship Id="rId5" Type="http://schemas.openxmlformats.org/officeDocument/2006/relationships/image" Target="../media/image30.png"/><Relationship Id="rId73" Type="http://schemas.microsoft.com/office/2007/relationships/hdphoto" Target="../media/hdphoto1.wdp"/><Relationship Id="rId4" Type="http://schemas.openxmlformats.org/officeDocument/2006/relationships/image" Target="../media/image3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4.png"/><Relationship Id="rId10" Type="http://schemas.openxmlformats.org/officeDocument/2006/relationships/image" Target="../media/image49.svg"/><Relationship Id="rId4" Type="http://schemas.openxmlformats.org/officeDocument/2006/relationships/image" Target="../media/image33.png"/><Relationship Id="rId9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10" Type="http://schemas.openxmlformats.org/officeDocument/2006/relationships/image" Target="../media/image32.jpeg"/><Relationship Id="rId4" Type="http://schemas.openxmlformats.org/officeDocument/2006/relationships/image" Target="../media/image34.png"/><Relationship Id="rId9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9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2E7A53D-01F6-5F46-894E-D4F39B9A54F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1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2E7A53D-01F6-5F46-894E-D4F39B9A5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D57F211E-6A69-684A-A5AF-BE97A353B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480" y="3196489"/>
            <a:ext cx="9687560" cy="995432"/>
          </a:xfrm>
        </p:spPr>
        <p:txBody>
          <a:bodyPr/>
          <a:lstStyle/>
          <a:p>
            <a:r>
              <a:rPr lang="ru-RU" dirty="0" smtClean="0"/>
              <a:t>Ведущий аналитик в ИТ-проекте для внешнего Заказчика: как быть профессионалом</a:t>
            </a:r>
            <a:endParaRPr lang="ru-RU" dirty="0"/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BC1AC489-298E-444C-8571-EAABBF06E0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46480" y="4788825"/>
            <a:ext cx="5991302" cy="369332"/>
          </a:xfrm>
        </p:spPr>
        <p:txBody>
          <a:bodyPr/>
          <a:lstStyle/>
          <a:p>
            <a:r>
              <a:rPr lang="ru-RU" sz="2400" dirty="0" smtClean="0">
                <a:solidFill>
                  <a:srgbClr val="00A460"/>
                </a:solidFill>
              </a:rPr>
              <a:t>Анна Трофимова</a:t>
            </a:r>
            <a:endParaRPr lang="ru-RU" sz="2400" dirty="0">
              <a:solidFill>
                <a:srgbClr val="00A460"/>
              </a:solidFill>
            </a:endParaRP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id="{720CE3FD-6D8C-0B45-998C-ADE4451744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6480" y="5287571"/>
            <a:ext cx="7580449" cy="553998"/>
          </a:xfrm>
        </p:spPr>
        <p:txBody>
          <a:bodyPr/>
          <a:lstStyle/>
          <a:p>
            <a:r>
              <a:rPr lang="ru-RU" sz="1800" dirty="0" smtClean="0"/>
              <a:t>Ведущий консультант по анализу и автоматизации бизнес-процессов</a:t>
            </a:r>
          </a:p>
          <a:p>
            <a:r>
              <a:rPr lang="en-US" sz="1800" dirty="0" smtClean="0"/>
              <a:t>Team Lead</a:t>
            </a:r>
            <a:r>
              <a:rPr lang="ru-RU" sz="1800" dirty="0" smtClean="0"/>
              <a:t> команды аналитиков направления </a:t>
            </a:r>
            <a:r>
              <a:rPr lang="en-US" sz="1800" dirty="0" smtClean="0"/>
              <a:t>BPM</a:t>
            </a:r>
            <a:endParaRPr lang="ru-RU" sz="1800" dirty="0"/>
          </a:p>
        </p:txBody>
      </p:sp>
      <p:sp>
        <p:nvSpPr>
          <p:cNvPr id="9" name="Рисунок 10">
            <a:extLst>
              <a:ext uri="{FF2B5EF4-FFF2-40B4-BE49-F238E27FC236}">
                <a16:creationId xmlns:a16="http://schemas.microsoft.com/office/drawing/2014/main" id="{72A4EDEB-A5F8-184C-A5E4-B078C0E624F4}"/>
              </a:ext>
            </a:extLst>
          </p:cNvPr>
          <p:cNvSpPr>
            <a:spLocks noChangeAspect="1"/>
          </p:cNvSpPr>
          <p:nvPr/>
        </p:nvSpPr>
        <p:spPr>
          <a:xfrm>
            <a:off x="9693372" y="366509"/>
            <a:ext cx="2230792" cy="576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chemeClr val="accent1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632" y="88669"/>
            <a:ext cx="2743528" cy="135118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119580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8D5BF0A-2730-1E42-B145-F9C3B1500755}"/>
              </a:ext>
            </a:extLst>
          </p:cNvPr>
          <p:cNvSpPr/>
          <p:nvPr/>
        </p:nvSpPr>
        <p:spPr>
          <a:xfrm>
            <a:off x="4775423" y="1695480"/>
            <a:ext cx="6730778" cy="30230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66">
            <a:extLst>
              <a:ext uri="{FF2B5EF4-FFF2-40B4-BE49-F238E27FC236}">
                <a16:creationId xmlns:a16="http://schemas.microsoft.com/office/drawing/2014/main" id="{9FEFDEA2-3BE6-6640-AED5-2DA25487ED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8885851" y="-3831461"/>
            <a:ext cx="6814562" cy="6814562"/>
          </a:xfrm>
          <a:prstGeom prst="rect">
            <a:avLst/>
          </a:prstGeom>
        </p:spPr>
      </p:pic>
      <p:sp>
        <p:nvSpPr>
          <p:cNvPr id="10" name="Right Arrow Callout 9"/>
          <p:cNvSpPr/>
          <p:nvPr/>
        </p:nvSpPr>
        <p:spPr>
          <a:xfrm>
            <a:off x="294640" y="1951470"/>
            <a:ext cx="4302760" cy="2489200"/>
          </a:xfrm>
          <a:prstGeom prst="rightArrowCallout">
            <a:avLst>
              <a:gd name="adj1" fmla="val 27449"/>
              <a:gd name="adj2" fmla="val 23163"/>
              <a:gd name="adj3" fmla="val 28878"/>
              <a:gd name="adj4" fmla="val 76619"/>
            </a:avLst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звитие направления: процессы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96BB4600-156C-4349-AF3F-15473158A5D7}"/>
              </a:ext>
            </a:extLst>
          </p:cNvPr>
          <p:cNvSpPr txBox="1">
            <a:spLocks/>
          </p:cNvSpPr>
          <p:nvPr/>
        </p:nvSpPr>
        <p:spPr>
          <a:xfrm>
            <a:off x="424355" y="2221444"/>
            <a:ext cx="5032479" cy="19492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Font typeface="Arial" panose="020B0604020202020204" pitchFamily="34" charset="0"/>
              <a:buNone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6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Bef>
                <a:spcPts val="800"/>
              </a:spcBef>
            </a:pPr>
            <a:r>
              <a:rPr lang="ru-RU" sz="2000" dirty="0" smtClean="0">
                <a:cs typeface="Arial" panose="020B0604020202020204" pitchFamily="34" charset="0"/>
              </a:rPr>
              <a:t>Успешное решение</a:t>
            </a:r>
          </a:p>
          <a:p>
            <a:pPr defTabSz="457200">
              <a:spcBef>
                <a:spcPts val="800"/>
              </a:spcBef>
            </a:pPr>
            <a:endParaRPr lang="ru-RU" sz="2000" dirty="0">
              <a:cs typeface="Arial" panose="020B0604020202020204" pitchFamily="34" charset="0"/>
            </a:endParaRPr>
          </a:p>
          <a:p>
            <a:pPr defTabSz="457200">
              <a:spcBef>
                <a:spcPts val="800"/>
              </a:spcBef>
            </a:pPr>
            <a:r>
              <a:rPr lang="ru-RU" sz="2000" dirty="0" smtClean="0">
                <a:cs typeface="Arial" panose="020B0604020202020204" pitchFamily="34" charset="0"/>
              </a:rPr>
              <a:t>Ошибки и проблемы</a:t>
            </a:r>
          </a:p>
          <a:p>
            <a:pPr defTabSz="457200">
              <a:spcBef>
                <a:spcPts val="800"/>
              </a:spcBef>
            </a:pPr>
            <a:endParaRPr lang="ru-RU" sz="2000" dirty="0">
              <a:cs typeface="Arial" panose="020B0604020202020204" pitchFamily="34" charset="0"/>
            </a:endParaRPr>
          </a:p>
          <a:p>
            <a:pPr defTabSz="457200">
              <a:spcBef>
                <a:spcPts val="800"/>
              </a:spcBef>
            </a:pPr>
            <a:r>
              <a:rPr lang="ru-RU" sz="2000" dirty="0" smtClean="0">
                <a:cs typeface="Arial" panose="020B0604020202020204" pitchFamily="34" charset="0"/>
              </a:rPr>
              <a:t>Повторяющиеся задачи</a:t>
            </a:r>
            <a:endParaRPr lang="ru-RU" sz="2000" dirty="0">
              <a:cs typeface="Arial" panose="020B0604020202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83922" y="2012044"/>
            <a:ext cx="6766117" cy="2472472"/>
          </a:xfrm>
        </p:spPr>
        <p:txBody>
          <a:bodyPr/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Зафиксировать проблемы и решения</a:t>
            </a:r>
          </a:p>
          <a:p>
            <a:endParaRPr lang="ru-RU" sz="2400" b="1" dirty="0" smtClean="0">
              <a:solidFill>
                <a:schemeClr val="bg1"/>
              </a:solidFill>
            </a:endParaRPr>
          </a:p>
          <a:p>
            <a:r>
              <a:rPr lang="ru-RU" sz="2400" b="1" dirty="0" err="1" smtClean="0">
                <a:solidFill>
                  <a:schemeClr val="bg1"/>
                </a:solidFill>
              </a:rPr>
              <a:t>Приоритезировать</a:t>
            </a:r>
            <a:r>
              <a:rPr lang="ru-RU" sz="2400" b="1" dirty="0" smtClean="0">
                <a:solidFill>
                  <a:schemeClr val="bg1"/>
                </a:solidFill>
              </a:rPr>
              <a:t> по востребованности</a:t>
            </a:r>
          </a:p>
          <a:p>
            <a:endParaRPr lang="ru-RU" sz="2400" b="1" dirty="0">
              <a:solidFill>
                <a:schemeClr val="bg1"/>
              </a:solidFill>
            </a:endParaRPr>
          </a:p>
          <a:p>
            <a:r>
              <a:rPr lang="ru-RU" sz="2400" b="1" dirty="0" smtClean="0">
                <a:solidFill>
                  <a:schemeClr val="bg1"/>
                </a:solidFill>
              </a:rPr>
              <a:t>Тиражировать как </a:t>
            </a:r>
            <a:r>
              <a:rPr lang="en-US" sz="2400" b="1" dirty="0" smtClean="0">
                <a:solidFill>
                  <a:schemeClr val="bg1"/>
                </a:solidFill>
              </a:rPr>
              <a:t>best practice</a:t>
            </a:r>
            <a:endParaRPr lang="ru-RU" sz="2400" b="1" dirty="0">
              <a:solidFill>
                <a:schemeClr val="bg1"/>
              </a:solidFill>
            </a:endParaRPr>
          </a:p>
        </p:txBody>
      </p:sp>
      <p:pic>
        <p:nvPicPr>
          <p:cNvPr id="14" name="Рисунок 4">
            <a:extLst>
              <a:ext uri="{FF2B5EF4-FFF2-40B4-BE49-F238E27FC236}">
                <a16:creationId xmlns:a16="http://schemas.microsoft.com/office/drawing/2014/main" id="{07A07623-C19F-3444-BFDF-7ED6C4CE144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0255" y="3893578"/>
            <a:ext cx="3323969" cy="2283049"/>
          </a:xfrm>
          <a:prstGeom prst="rect">
            <a:avLst/>
          </a:prstGeom>
        </p:spPr>
      </p:pic>
      <p:sp>
        <p:nvSpPr>
          <p:cNvPr id="16" name="Текст 3">
            <a:extLst>
              <a:ext uri="{FF2B5EF4-FFF2-40B4-BE49-F238E27FC236}">
                <a16:creationId xmlns:a16="http://schemas.microsoft.com/office/drawing/2014/main" id="{96BB4600-156C-4349-AF3F-15473158A5D7}"/>
              </a:ext>
            </a:extLst>
          </p:cNvPr>
          <p:cNvSpPr txBox="1">
            <a:spLocks/>
          </p:cNvSpPr>
          <p:nvPr/>
        </p:nvSpPr>
        <p:spPr>
          <a:xfrm>
            <a:off x="3601720" y="3004595"/>
            <a:ext cx="153489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Font typeface="Arial" panose="020B0604020202020204" pitchFamily="34" charset="0"/>
              <a:buNone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6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Bef>
                <a:spcPts val="800"/>
              </a:spcBef>
            </a:pPr>
            <a:r>
              <a:rPr lang="ru-RU" sz="2000" b="1" dirty="0" smtClean="0">
                <a:solidFill>
                  <a:schemeClr val="accent1"/>
                </a:solidFill>
                <a:cs typeface="Arial" panose="020B0604020202020204" pitchFamily="34" charset="0"/>
              </a:rPr>
              <a:t>Опыт</a:t>
            </a:r>
            <a:endParaRPr lang="ru-RU" sz="2000" b="1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702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Рисунок 2">
            <a:extLst>
              <a:ext uri="{FF2B5EF4-FFF2-40B4-BE49-F238E27FC236}">
                <a16:creationId xmlns:a16="http://schemas.microsoft.com/office/drawing/2014/main" id="{27DED360-8E30-0346-A883-A14E7A3B2A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9" y="0"/>
            <a:ext cx="12180722" cy="6858000"/>
          </a:xfrm>
          <a:prstGeom prst="rect">
            <a:avLst/>
          </a:prstGeom>
        </p:spPr>
      </p:pic>
      <p:sp>
        <p:nvSpPr>
          <p:cNvPr id="11" name="Заголовок 10">
            <a:extLst>
              <a:ext uri="{FF2B5EF4-FFF2-40B4-BE49-F238E27FC236}">
                <a16:creationId xmlns:a16="http://schemas.microsoft.com/office/drawing/2014/main" id="{532DCB1B-7CD8-D149-8789-D200A7F1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7614" y="3382382"/>
            <a:ext cx="4237834" cy="775597"/>
          </a:xfr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Развитие направления: </a:t>
            </a:r>
            <a:r>
              <a:rPr lang="ru-RU" dirty="0" smtClean="0">
                <a:solidFill>
                  <a:schemeClr val="bg1"/>
                </a:solidFill>
              </a:rPr>
              <a:t/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>к</a:t>
            </a:r>
            <a:r>
              <a:rPr lang="ru-RU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оманда аналитиков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7" name="Номер слайда 1">
            <a:extLst>
              <a:ext uri="{FF2B5EF4-FFF2-40B4-BE49-F238E27FC236}">
                <a16:creationId xmlns:a16="http://schemas.microsoft.com/office/drawing/2014/main" id="{34D6FAEA-96BF-694A-95AA-4BA83C613D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6297675" y="6815087"/>
            <a:ext cx="2743200" cy="201600"/>
          </a:xfrm>
        </p:spPr>
        <p:txBody>
          <a:bodyPr/>
          <a:lstStyle/>
          <a:p>
            <a:fld id="{C873F048-D532-42BD-AB62-653627250667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39A3E109-D534-A544-868E-A62E9DF09541}"/>
              </a:ext>
            </a:extLst>
          </p:cNvPr>
          <p:cNvSpPr/>
          <p:nvPr/>
        </p:nvSpPr>
        <p:spPr>
          <a:xfrm>
            <a:off x="2948594" y="143450"/>
            <a:ext cx="32941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Создание программы стажировки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32A1CA55-A1A7-F549-BB48-CE5D55D2C4EB}"/>
              </a:ext>
            </a:extLst>
          </p:cNvPr>
          <p:cNvSpPr/>
          <p:nvPr/>
        </p:nvSpPr>
        <p:spPr>
          <a:xfrm>
            <a:off x="747469" y="5232699"/>
            <a:ext cx="28489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Составление плана развития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61A1EAC7-1236-F640-982C-4DD516BFFDD1}"/>
              </a:ext>
            </a:extLst>
          </p:cNvPr>
          <p:cNvSpPr/>
          <p:nvPr/>
        </p:nvSpPr>
        <p:spPr>
          <a:xfrm>
            <a:off x="747469" y="3275239"/>
            <a:ext cx="20395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Оценка компетенций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FE96EDD9-29D8-554B-B057-FD908628825E}"/>
              </a:ext>
            </a:extLst>
          </p:cNvPr>
          <p:cNvSpPr/>
          <p:nvPr/>
        </p:nvSpPr>
        <p:spPr>
          <a:xfrm>
            <a:off x="3488426" y="1564938"/>
            <a:ext cx="897821" cy="8978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BC969871-4A1F-E845-8113-5BF726EE6435}"/>
              </a:ext>
            </a:extLst>
          </p:cNvPr>
          <p:cNvSpPr/>
          <p:nvPr/>
        </p:nvSpPr>
        <p:spPr>
          <a:xfrm>
            <a:off x="5632866" y="624221"/>
            <a:ext cx="897821" cy="8978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17776F48-328D-BB4D-BD85-50379AEC03E6}"/>
              </a:ext>
            </a:extLst>
          </p:cNvPr>
          <p:cNvSpPr/>
          <p:nvPr/>
        </p:nvSpPr>
        <p:spPr>
          <a:xfrm>
            <a:off x="7654863" y="5199287"/>
            <a:ext cx="897821" cy="8978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C973D57D-03B8-2048-8841-ED09564B99E5}"/>
              </a:ext>
            </a:extLst>
          </p:cNvPr>
          <p:cNvSpPr/>
          <p:nvPr/>
        </p:nvSpPr>
        <p:spPr>
          <a:xfrm>
            <a:off x="3697829" y="5199287"/>
            <a:ext cx="897821" cy="8978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1D80D1DC-AD84-8442-85FE-8C7DA2B7CE48}"/>
              </a:ext>
            </a:extLst>
          </p:cNvPr>
          <p:cNvSpPr/>
          <p:nvPr/>
        </p:nvSpPr>
        <p:spPr>
          <a:xfrm>
            <a:off x="2890603" y="3241827"/>
            <a:ext cx="897821" cy="8978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75895A83-FDC1-ED49-B3D8-F45D4DB41B5A}"/>
              </a:ext>
            </a:extLst>
          </p:cNvPr>
          <p:cNvSpPr/>
          <p:nvPr/>
        </p:nvSpPr>
        <p:spPr>
          <a:xfrm>
            <a:off x="3339514" y="1066669"/>
            <a:ext cx="5494375" cy="5494375"/>
          </a:xfrm>
          <a:prstGeom prst="ellipse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0C241C80-4D75-0841-8EA5-597595405E22}"/>
              </a:ext>
            </a:extLst>
          </p:cNvPr>
          <p:cNvSpPr/>
          <p:nvPr/>
        </p:nvSpPr>
        <p:spPr>
          <a:xfrm>
            <a:off x="8626676" y="5232699"/>
            <a:ext cx="236153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Создание атмосферы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3B3EF70B-CA24-E047-9B32-565CAF8B93B0}"/>
              </a:ext>
            </a:extLst>
          </p:cNvPr>
          <p:cNvSpPr/>
          <p:nvPr/>
        </p:nvSpPr>
        <p:spPr>
          <a:xfrm>
            <a:off x="8656014" y="1783016"/>
            <a:ext cx="261556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аставничество</a:t>
            </a:r>
            <a:endParaRPr lang="ru-RU" sz="2400" dirty="0">
              <a:solidFill>
                <a:schemeClr val="bg1"/>
              </a:solidFill>
            </a:endParaRPr>
          </a:p>
        </p:txBody>
      </p:sp>
      <p:grpSp>
        <p:nvGrpSpPr>
          <p:cNvPr id="48" name="Group 242">
            <a:extLst>
              <a:ext uri="{FF2B5EF4-FFF2-40B4-BE49-F238E27FC236}">
                <a16:creationId xmlns:a16="http://schemas.microsoft.com/office/drawing/2014/main" id="{BC74B1B0-FD96-9948-A4C1-90AC92ABC533}"/>
              </a:ext>
            </a:extLst>
          </p:cNvPr>
          <p:cNvGrpSpPr/>
          <p:nvPr/>
        </p:nvGrpSpPr>
        <p:grpSpPr>
          <a:xfrm>
            <a:off x="3088675" y="3436525"/>
            <a:ext cx="495811" cy="508424"/>
            <a:chOff x="509407" y="879487"/>
            <a:chExt cx="811213" cy="831849"/>
          </a:xfrm>
          <a:solidFill>
            <a:schemeClr val="accent1"/>
          </a:solidFill>
        </p:grpSpPr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977CEC54-5D3A-6F4C-9048-98E788451D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407" y="879487"/>
              <a:ext cx="811213" cy="831849"/>
            </a:xfrm>
            <a:custGeom>
              <a:avLst/>
              <a:gdLst>
                <a:gd name="T0" fmla="*/ 6298 w 6493"/>
                <a:gd name="T1" fmla="*/ 5789 h 6646"/>
                <a:gd name="T2" fmla="*/ 4674 w 6493"/>
                <a:gd name="T3" fmla="*/ 4165 h 6646"/>
                <a:gd name="T4" fmla="*/ 4355 w 6493"/>
                <a:gd name="T5" fmla="*/ 984 h 6646"/>
                <a:gd name="T6" fmla="*/ 784 w 6493"/>
                <a:gd name="T7" fmla="*/ 984 h 6646"/>
                <a:gd name="T8" fmla="*/ 57 w 6493"/>
                <a:gd name="T9" fmla="*/ 2513 h 6646"/>
                <a:gd name="T10" fmla="*/ 444 w 6493"/>
                <a:gd name="T11" fmla="*/ 4134 h 6646"/>
                <a:gd name="T12" fmla="*/ 617 w 6493"/>
                <a:gd name="T13" fmla="*/ 4171 h 6646"/>
                <a:gd name="T14" fmla="*/ 654 w 6493"/>
                <a:gd name="T15" fmla="*/ 3999 h 6646"/>
                <a:gd name="T16" fmla="*/ 961 w 6493"/>
                <a:gd name="T17" fmla="*/ 1161 h 6646"/>
                <a:gd name="T18" fmla="*/ 4178 w 6493"/>
                <a:gd name="T19" fmla="*/ 1161 h 6646"/>
                <a:gd name="T20" fmla="*/ 4178 w 6493"/>
                <a:gd name="T21" fmla="*/ 4378 h 6646"/>
                <a:gd name="T22" fmla="*/ 1368 w 6493"/>
                <a:gd name="T23" fmla="*/ 4703 h 6646"/>
                <a:gd name="T24" fmla="*/ 1196 w 6493"/>
                <a:gd name="T25" fmla="*/ 4743 h 6646"/>
                <a:gd name="T26" fmla="*/ 1236 w 6493"/>
                <a:gd name="T27" fmla="*/ 4915 h 6646"/>
                <a:gd name="T28" fmla="*/ 2572 w 6493"/>
                <a:gd name="T29" fmla="*/ 5295 h 6646"/>
                <a:gd name="T30" fmla="*/ 2843 w 6493"/>
                <a:gd name="T31" fmla="*/ 5280 h 6646"/>
                <a:gd name="T32" fmla="*/ 3962 w 6493"/>
                <a:gd name="T33" fmla="*/ 4876 h 6646"/>
                <a:gd name="T34" fmla="*/ 5587 w 6493"/>
                <a:gd name="T35" fmla="*/ 6501 h 6646"/>
                <a:gd name="T36" fmla="*/ 5939 w 6493"/>
                <a:gd name="T37" fmla="*/ 6646 h 6646"/>
                <a:gd name="T38" fmla="*/ 6296 w 6493"/>
                <a:gd name="T39" fmla="*/ 6498 h 6646"/>
                <a:gd name="T40" fmla="*/ 6298 w 6493"/>
                <a:gd name="T41" fmla="*/ 5789 h 6646"/>
                <a:gd name="T42" fmla="*/ 4166 w 6493"/>
                <a:gd name="T43" fmla="*/ 4726 h 6646"/>
                <a:gd name="T44" fmla="*/ 4355 w 6493"/>
                <a:gd name="T45" fmla="*/ 4555 h 6646"/>
                <a:gd name="T46" fmla="*/ 4524 w 6493"/>
                <a:gd name="T47" fmla="*/ 4369 h 6646"/>
                <a:gd name="T48" fmla="*/ 4841 w 6493"/>
                <a:gd name="T49" fmla="*/ 4685 h 6646"/>
                <a:gd name="T50" fmla="*/ 4483 w 6493"/>
                <a:gd name="T51" fmla="*/ 5043 h 6646"/>
                <a:gd name="T52" fmla="*/ 4166 w 6493"/>
                <a:gd name="T53" fmla="*/ 4726 h 6646"/>
                <a:gd name="T54" fmla="*/ 6119 w 6493"/>
                <a:gd name="T55" fmla="*/ 6321 h 6646"/>
                <a:gd name="T56" fmla="*/ 5764 w 6493"/>
                <a:gd name="T57" fmla="*/ 6324 h 6646"/>
                <a:gd name="T58" fmla="*/ 4660 w 6493"/>
                <a:gd name="T59" fmla="*/ 5220 h 6646"/>
                <a:gd name="T60" fmla="*/ 5017 w 6493"/>
                <a:gd name="T61" fmla="*/ 4862 h 6646"/>
                <a:gd name="T62" fmla="*/ 6122 w 6493"/>
                <a:gd name="T63" fmla="*/ 5966 h 6646"/>
                <a:gd name="T64" fmla="*/ 6119 w 6493"/>
                <a:gd name="T65" fmla="*/ 6321 h 6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493" h="6646">
                  <a:moveTo>
                    <a:pt x="6298" y="5789"/>
                  </a:moveTo>
                  <a:lnTo>
                    <a:pt x="4674" y="4165"/>
                  </a:lnTo>
                  <a:cubicBezTo>
                    <a:pt x="5324" y="3185"/>
                    <a:pt x="5218" y="1847"/>
                    <a:pt x="4355" y="984"/>
                  </a:cubicBezTo>
                  <a:cubicBezTo>
                    <a:pt x="3370" y="0"/>
                    <a:pt x="1768" y="0"/>
                    <a:pt x="784" y="984"/>
                  </a:cubicBezTo>
                  <a:cubicBezTo>
                    <a:pt x="374" y="1394"/>
                    <a:pt x="116" y="1937"/>
                    <a:pt x="57" y="2513"/>
                  </a:cubicBezTo>
                  <a:cubicBezTo>
                    <a:pt x="0" y="3081"/>
                    <a:pt x="137" y="3657"/>
                    <a:pt x="444" y="4134"/>
                  </a:cubicBezTo>
                  <a:cubicBezTo>
                    <a:pt x="481" y="4192"/>
                    <a:pt x="559" y="4209"/>
                    <a:pt x="617" y="4171"/>
                  </a:cubicBezTo>
                  <a:cubicBezTo>
                    <a:pt x="675" y="4134"/>
                    <a:pt x="691" y="4057"/>
                    <a:pt x="654" y="3999"/>
                  </a:cubicBezTo>
                  <a:cubicBezTo>
                    <a:pt x="80" y="3106"/>
                    <a:pt x="209" y="1913"/>
                    <a:pt x="961" y="1161"/>
                  </a:cubicBezTo>
                  <a:cubicBezTo>
                    <a:pt x="1848" y="274"/>
                    <a:pt x="3291" y="274"/>
                    <a:pt x="4178" y="1161"/>
                  </a:cubicBezTo>
                  <a:cubicBezTo>
                    <a:pt x="5065" y="2048"/>
                    <a:pt x="5065" y="3491"/>
                    <a:pt x="4178" y="4378"/>
                  </a:cubicBezTo>
                  <a:cubicBezTo>
                    <a:pt x="3426" y="5131"/>
                    <a:pt x="2270" y="5264"/>
                    <a:pt x="1368" y="4703"/>
                  </a:cubicBezTo>
                  <a:cubicBezTo>
                    <a:pt x="1310" y="4666"/>
                    <a:pt x="1233" y="4684"/>
                    <a:pt x="1196" y="4743"/>
                  </a:cubicBezTo>
                  <a:cubicBezTo>
                    <a:pt x="1160" y="4801"/>
                    <a:pt x="1178" y="4878"/>
                    <a:pt x="1236" y="4915"/>
                  </a:cubicBezTo>
                  <a:cubicBezTo>
                    <a:pt x="1635" y="5163"/>
                    <a:pt x="2101" y="5295"/>
                    <a:pt x="2572" y="5295"/>
                  </a:cubicBezTo>
                  <a:cubicBezTo>
                    <a:pt x="2662" y="5295"/>
                    <a:pt x="2753" y="5290"/>
                    <a:pt x="2843" y="5280"/>
                  </a:cubicBezTo>
                  <a:cubicBezTo>
                    <a:pt x="3244" y="5237"/>
                    <a:pt x="3628" y="5096"/>
                    <a:pt x="3962" y="4876"/>
                  </a:cubicBezTo>
                  <a:lnTo>
                    <a:pt x="5587" y="6501"/>
                  </a:lnTo>
                  <a:cubicBezTo>
                    <a:pt x="5684" y="6598"/>
                    <a:pt x="5811" y="6646"/>
                    <a:pt x="5939" y="6646"/>
                  </a:cubicBezTo>
                  <a:cubicBezTo>
                    <a:pt x="6068" y="6646"/>
                    <a:pt x="6197" y="6597"/>
                    <a:pt x="6296" y="6498"/>
                  </a:cubicBezTo>
                  <a:cubicBezTo>
                    <a:pt x="6492" y="6302"/>
                    <a:pt x="6493" y="5984"/>
                    <a:pt x="6298" y="5789"/>
                  </a:cubicBezTo>
                  <a:close/>
                  <a:moveTo>
                    <a:pt x="4166" y="4726"/>
                  </a:moveTo>
                  <a:cubicBezTo>
                    <a:pt x="4231" y="4672"/>
                    <a:pt x="4295" y="4616"/>
                    <a:pt x="4355" y="4555"/>
                  </a:cubicBezTo>
                  <a:cubicBezTo>
                    <a:pt x="4415" y="4495"/>
                    <a:pt x="4471" y="4433"/>
                    <a:pt x="4524" y="4369"/>
                  </a:cubicBezTo>
                  <a:lnTo>
                    <a:pt x="4841" y="4685"/>
                  </a:lnTo>
                  <a:lnTo>
                    <a:pt x="4483" y="5043"/>
                  </a:lnTo>
                  <a:lnTo>
                    <a:pt x="4166" y="4726"/>
                  </a:lnTo>
                  <a:close/>
                  <a:moveTo>
                    <a:pt x="6119" y="6321"/>
                  </a:moveTo>
                  <a:cubicBezTo>
                    <a:pt x="6020" y="6420"/>
                    <a:pt x="5861" y="6421"/>
                    <a:pt x="5764" y="6324"/>
                  </a:cubicBezTo>
                  <a:lnTo>
                    <a:pt x="4660" y="5220"/>
                  </a:lnTo>
                  <a:lnTo>
                    <a:pt x="5017" y="4862"/>
                  </a:lnTo>
                  <a:lnTo>
                    <a:pt x="6122" y="5966"/>
                  </a:lnTo>
                  <a:cubicBezTo>
                    <a:pt x="6219" y="6063"/>
                    <a:pt x="6218" y="6223"/>
                    <a:pt x="6119" y="6321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4606BE7A-2CEB-3C40-85EC-9FADE9438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94" y="1420824"/>
              <a:ext cx="34925" cy="33337"/>
            </a:xfrm>
            <a:custGeom>
              <a:avLst/>
              <a:gdLst>
                <a:gd name="T0" fmla="*/ 228 w 278"/>
                <a:gd name="T1" fmla="*/ 51 h 265"/>
                <a:gd name="T2" fmla="*/ 225 w 278"/>
                <a:gd name="T3" fmla="*/ 48 h 265"/>
                <a:gd name="T4" fmla="*/ 49 w 278"/>
                <a:gd name="T5" fmla="*/ 49 h 265"/>
                <a:gd name="T6" fmla="*/ 49 w 278"/>
                <a:gd name="T7" fmla="*/ 226 h 265"/>
                <a:gd name="T8" fmla="*/ 52 w 278"/>
                <a:gd name="T9" fmla="*/ 229 h 265"/>
                <a:gd name="T10" fmla="*/ 140 w 278"/>
                <a:gd name="T11" fmla="*/ 265 h 265"/>
                <a:gd name="T12" fmla="*/ 229 w 278"/>
                <a:gd name="T13" fmla="*/ 228 h 265"/>
                <a:gd name="T14" fmla="*/ 228 w 278"/>
                <a:gd name="T15" fmla="*/ 51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" h="265">
                  <a:moveTo>
                    <a:pt x="228" y="51"/>
                  </a:moveTo>
                  <a:lnTo>
                    <a:pt x="225" y="48"/>
                  </a:lnTo>
                  <a:cubicBezTo>
                    <a:pt x="176" y="0"/>
                    <a:pt x="97" y="0"/>
                    <a:pt x="49" y="49"/>
                  </a:cubicBezTo>
                  <a:cubicBezTo>
                    <a:pt x="0" y="98"/>
                    <a:pt x="0" y="177"/>
                    <a:pt x="49" y="226"/>
                  </a:cubicBezTo>
                  <a:lnTo>
                    <a:pt x="52" y="229"/>
                  </a:lnTo>
                  <a:cubicBezTo>
                    <a:pt x="77" y="253"/>
                    <a:pt x="108" y="265"/>
                    <a:pt x="140" y="265"/>
                  </a:cubicBezTo>
                  <a:cubicBezTo>
                    <a:pt x="172" y="265"/>
                    <a:pt x="205" y="253"/>
                    <a:pt x="229" y="228"/>
                  </a:cubicBezTo>
                  <a:cubicBezTo>
                    <a:pt x="278" y="179"/>
                    <a:pt x="277" y="100"/>
                    <a:pt x="228" y="51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13CC5F3E-1A21-DF4A-8799-8D16D7408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782" y="984261"/>
              <a:ext cx="481013" cy="482600"/>
            </a:xfrm>
            <a:custGeom>
              <a:avLst/>
              <a:gdLst>
                <a:gd name="T0" fmla="*/ 1925 w 3850"/>
                <a:gd name="T1" fmla="*/ 0 h 3850"/>
                <a:gd name="T2" fmla="*/ 0 w 3850"/>
                <a:gd name="T3" fmla="*/ 1925 h 3850"/>
                <a:gd name="T4" fmla="*/ 1925 w 3850"/>
                <a:gd name="T5" fmla="*/ 3850 h 3850"/>
                <a:gd name="T6" fmla="*/ 3850 w 3850"/>
                <a:gd name="T7" fmla="*/ 1925 h 3850"/>
                <a:gd name="T8" fmla="*/ 1925 w 3850"/>
                <a:gd name="T9" fmla="*/ 0 h 3850"/>
                <a:gd name="T10" fmla="*/ 1925 w 3850"/>
                <a:gd name="T11" fmla="*/ 3600 h 3850"/>
                <a:gd name="T12" fmla="*/ 495 w 3850"/>
                <a:gd name="T13" fmla="*/ 2796 h 3850"/>
                <a:gd name="T14" fmla="*/ 1235 w 3850"/>
                <a:gd name="T15" fmla="*/ 2057 h 3850"/>
                <a:gd name="T16" fmla="*/ 1828 w 3850"/>
                <a:gd name="T17" fmla="*/ 2650 h 3850"/>
                <a:gd name="T18" fmla="*/ 1916 w 3850"/>
                <a:gd name="T19" fmla="*/ 2687 h 3850"/>
                <a:gd name="T20" fmla="*/ 2005 w 3850"/>
                <a:gd name="T21" fmla="*/ 2650 h 3850"/>
                <a:gd name="T22" fmla="*/ 2936 w 3850"/>
                <a:gd name="T23" fmla="*/ 1718 h 3850"/>
                <a:gd name="T24" fmla="*/ 2936 w 3850"/>
                <a:gd name="T25" fmla="*/ 1756 h 3850"/>
                <a:gd name="T26" fmla="*/ 3061 w 3850"/>
                <a:gd name="T27" fmla="*/ 1881 h 3850"/>
                <a:gd name="T28" fmla="*/ 3186 w 3850"/>
                <a:gd name="T29" fmla="*/ 1756 h 3850"/>
                <a:gd name="T30" fmla="*/ 3186 w 3850"/>
                <a:gd name="T31" fmla="*/ 1417 h 3850"/>
                <a:gd name="T32" fmla="*/ 3061 w 3850"/>
                <a:gd name="T33" fmla="*/ 1292 h 3850"/>
                <a:gd name="T34" fmla="*/ 2722 w 3850"/>
                <a:gd name="T35" fmla="*/ 1292 h 3850"/>
                <a:gd name="T36" fmla="*/ 2597 w 3850"/>
                <a:gd name="T37" fmla="*/ 1417 h 3850"/>
                <a:gd name="T38" fmla="*/ 2722 w 3850"/>
                <a:gd name="T39" fmla="*/ 1542 h 3850"/>
                <a:gd name="T40" fmla="*/ 2760 w 3850"/>
                <a:gd name="T41" fmla="*/ 1542 h 3850"/>
                <a:gd name="T42" fmla="*/ 1916 w 3850"/>
                <a:gd name="T43" fmla="*/ 2385 h 3850"/>
                <a:gd name="T44" fmla="*/ 1323 w 3850"/>
                <a:gd name="T45" fmla="*/ 1792 h 3850"/>
                <a:gd name="T46" fmla="*/ 1235 w 3850"/>
                <a:gd name="T47" fmla="*/ 1755 h 3850"/>
                <a:gd name="T48" fmla="*/ 1146 w 3850"/>
                <a:gd name="T49" fmla="*/ 1792 h 3850"/>
                <a:gd name="T50" fmla="*/ 376 w 3850"/>
                <a:gd name="T51" fmla="*/ 2562 h 3850"/>
                <a:gd name="T52" fmla="*/ 250 w 3850"/>
                <a:gd name="T53" fmla="*/ 1925 h 3850"/>
                <a:gd name="T54" fmla="*/ 1925 w 3850"/>
                <a:gd name="T55" fmla="*/ 250 h 3850"/>
                <a:gd name="T56" fmla="*/ 3600 w 3850"/>
                <a:gd name="T57" fmla="*/ 1925 h 3850"/>
                <a:gd name="T58" fmla="*/ 1925 w 3850"/>
                <a:gd name="T59" fmla="*/ 3600 h 3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850" h="3850">
                  <a:moveTo>
                    <a:pt x="1925" y="0"/>
                  </a:moveTo>
                  <a:cubicBezTo>
                    <a:pt x="864" y="0"/>
                    <a:pt x="0" y="863"/>
                    <a:pt x="0" y="1925"/>
                  </a:cubicBezTo>
                  <a:cubicBezTo>
                    <a:pt x="0" y="2986"/>
                    <a:pt x="864" y="3850"/>
                    <a:pt x="1925" y="3850"/>
                  </a:cubicBezTo>
                  <a:cubicBezTo>
                    <a:pt x="2987" y="3850"/>
                    <a:pt x="3850" y="2986"/>
                    <a:pt x="3850" y="1925"/>
                  </a:cubicBezTo>
                  <a:cubicBezTo>
                    <a:pt x="3850" y="863"/>
                    <a:pt x="2987" y="0"/>
                    <a:pt x="1925" y="0"/>
                  </a:cubicBezTo>
                  <a:close/>
                  <a:moveTo>
                    <a:pt x="1925" y="3600"/>
                  </a:moveTo>
                  <a:cubicBezTo>
                    <a:pt x="1321" y="3600"/>
                    <a:pt x="790" y="3278"/>
                    <a:pt x="495" y="2796"/>
                  </a:cubicBezTo>
                  <a:lnTo>
                    <a:pt x="1235" y="2057"/>
                  </a:lnTo>
                  <a:lnTo>
                    <a:pt x="1828" y="2650"/>
                  </a:lnTo>
                  <a:cubicBezTo>
                    <a:pt x="1851" y="2673"/>
                    <a:pt x="1883" y="2687"/>
                    <a:pt x="1916" y="2687"/>
                  </a:cubicBezTo>
                  <a:cubicBezTo>
                    <a:pt x="1950" y="2687"/>
                    <a:pt x="1981" y="2673"/>
                    <a:pt x="2005" y="2650"/>
                  </a:cubicBezTo>
                  <a:lnTo>
                    <a:pt x="2936" y="1718"/>
                  </a:lnTo>
                  <a:lnTo>
                    <a:pt x="2936" y="1756"/>
                  </a:lnTo>
                  <a:cubicBezTo>
                    <a:pt x="2936" y="1825"/>
                    <a:pt x="2992" y="1881"/>
                    <a:pt x="3061" y="1881"/>
                  </a:cubicBezTo>
                  <a:cubicBezTo>
                    <a:pt x="3130" y="1881"/>
                    <a:pt x="3186" y="1825"/>
                    <a:pt x="3186" y="1756"/>
                  </a:cubicBezTo>
                  <a:lnTo>
                    <a:pt x="3186" y="1417"/>
                  </a:lnTo>
                  <a:cubicBezTo>
                    <a:pt x="3186" y="1347"/>
                    <a:pt x="3130" y="1292"/>
                    <a:pt x="3061" y="1292"/>
                  </a:cubicBezTo>
                  <a:lnTo>
                    <a:pt x="2722" y="1292"/>
                  </a:lnTo>
                  <a:cubicBezTo>
                    <a:pt x="2653" y="1292"/>
                    <a:pt x="2597" y="1347"/>
                    <a:pt x="2597" y="1417"/>
                  </a:cubicBezTo>
                  <a:cubicBezTo>
                    <a:pt x="2597" y="1486"/>
                    <a:pt x="2653" y="1542"/>
                    <a:pt x="2722" y="1542"/>
                  </a:cubicBezTo>
                  <a:lnTo>
                    <a:pt x="2760" y="1542"/>
                  </a:lnTo>
                  <a:lnTo>
                    <a:pt x="1916" y="2385"/>
                  </a:lnTo>
                  <a:lnTo>
                    <a:pt x="1323" y="1792"/>
                  </a:lnTo>
                  <a:cubicBezTo>
                    <a:pt x="1300" y="1768"/>
                    <a:pt x="1268" y="1755"/>
                    <a:pt x="1235" y="1755"/>
                  </a:cubicBezTo>
                  <a:cubicBezTo>
                    <a:pt x="1202" y="1755"/>
                    <a:pt x="1170" y="1768"/>
                    <a:pt x="1146" y="1792"/>
                  </a:cubicBezTo>
                  <a:lnTo>
                    <a:pt x="376" y="2562"/>
                  </a:lnTo>
                  <a:cubicBezTo>
                    <a:pt x="295" y="2365"/>
                    <a:pt x="250" y="2150"/>
                    <a:pt x="250" y="1925"/>
                  </a:cubicBezTo>
                  <a:cubicBezTo>
                    <a:pt x="250" y="1001"/>
                    <a:pt x="1002" y="250"/>
                    <a:pt x="1925" y="250"/>
                  </a:cubicBezTo>
                  <a:cubicBezTo>
                    <a:pt x="2849" y="250"/>
                    <a:pt x="3600" y="1001"/>
                    <a:pt x="3600" y="1925"/>
                  </a:cubicBezTo>
                  <a:cubicBezTo>
                    <a:pt x="3600" y="2848"/>
                    <a:pt x="2849" y="3600"/>
                    <a:pt x="1925" y="36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84334215-730C-D34A-99E4-EF2B5B85EA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809114" y="5368797"/>
            <a:ext cx="647700" cy="558800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98ECBFC8-98F9-F442-8D39-1CC11E35C1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762251" y="732756"/>
            <a:ext cx="602021" cy="625176"/>
          </a:xfrm>
          <a:prstGeom prst="rect">
            <a:avLst/>
          </a:prstGeom>
        </p:spPr>
      </p:pic>
      <p:grpSp>
        <p:nvGrpSpPr>
          <p:cNvPr id="54" name="Group 315">
            <a:extLst>
              <a:ext uri="{FF2B5EF4-FFF2-40B4-BE49-F238E27FC236}">
                <a16:creationId xmlns:a16="http://schemas.microsoft.com/office/drawing/2014/main" id="{1954A040-D1A8-8540-9905-AA46E3A779C6}"/>
              </a:ext>
            </a:extLst>
          </p:cNvPr>
          <p:cNvGrpSpPr/>
          <p:nvPr/>
        </p:nvGrpSpPr>
        <p:grpSpPr>
          <a:xfrm>
            <a:off x="3724374" y="1800885"/>
            <a:ext cx="425928" cy="425927"/>
            <a:chOff x="3900488" y="960438"/>
            <a:chExt cx="803275" cy="803275"/>
          </a:xfrm>
          <a:solidFill>
            <a:schemeClr val="accent1"/>
          </a:solidFill>
        </p:grpSpPr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23DB8620-39BF-494C-A4C9-789779F3DA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0488" y="960438"/>
              <a:ext cx="803275" cy="803275"/>
            </a:xfrm>
            <a:custGeom>
              <a:avLst/>
              <a:gdLst>
                <a:gd name="T0" fmla="*/ 7783 w 8533"/>
                <a:gd name="T1" fmla="*/ 0 h 8533"/>
                <a:gd name="T2" fmla="*/ 750 w 8533"/>
                <a:gd name="T3" fmla="*/ 0 h 8533"/>
                <a:gd name="T4" fmla="*/ 0 w 8533"/>
                <a:gd name="T5" fmla="*/ 750 h 8533"/>
                <a:gd name="T6" fmla="*/ 0 w 8533"/>
                <a:gd name="T7" fmla="*/ 6267 h 8533"/>
                <a:gd name="T8" fmla="*/ 750 w 8533"/>
                <a:gd name="T9" fmla="*/ 7017 h 8533"/>
                <a:gd name="T10" fmla="*/ 3421 w 8533"/>
                <a:gd name="T11" fmla="*/ 7017 h 8533"/>
                <a:gd name="T12" fmla="*/ 3086 w 8533"/>
                <a:gd name="T13" fmla="*/ 8033 h 8533"/>
                <a:gd name="T14" fmla="*/ 2267 w 8533"/>
                <a:gd name="T15" fmla="*/ 8033 h 8533"/>
                <a:gd name="T16" fmla="*/ 2017 w 8533"/>
                <a:gd name="T17" fmla="*/ 8283 h 8533"/>
                <a:gd name="T18" fmla="*/ 2267 w 8533"/>
                <a:gd name="T19" fmla="*/ 8533 h 8533"/>
                <a:gd name="T20" fmla="*/ 6267 w 8533"/>
                <a:gd name="T21" fmla="*/ 8533 h 8533"/>
                <a:gd name="T22" fmla="*/ 6517 w 8533"/>
                <a:gd name="T23" fmla="*/ 8283 h 8533"/>
                <a:gd name="T24" fmla="*/ 6267 w 8533"/>
                <a:gd name="T25" fmla="*/ 8033 h 8533"/>
                <a:gd name="T26" fmla="*/ 5447 w 8533"/>
                <a:gd name="T27" fmla="*/ 8033 h 8533"/>
                <a:gd name="T28" fmla="*/ 5112 w 8533"/>
                <a:gd name="T29" fmla="*/ 7017 h 8533"/>
                <a:gd name="T30" fmla="*/ 7783 w 8533"/>
                <a:gd name="T31" fmla="*/ 7017 h 8533"/>
                <a:gd name="T32" fmla="*/ 8533 w 8533"/>
                <a:gd name="T33" fmla="*/ 6267 h 8533"/>
                <a:gd name="T34" fmla="*/ 8533 w 8533"/>
                <a:gd name="T35" fmla="*/ 750 h 8533"/>
                <a:gd name="T36" fmla="*/ 7783 w 8533"/>
                <a:gd name="T37" fmla="*/ 0 h 8533"/>
                <a:gd name="T38" fmla="*/ 750 w 8533"/>
                <a:gd name="T39" fmla="*/ 500 h 8533"/>
                <a:gd name="T40" fmla="*/ 7783 w 8533"/>
                <a:gd name="T41" fmla="*/ 500 h 8533"/>
                <a:gd name="T42" fmla="*/ 8033 w 8533"/>
                <a:gd name="T43" fmla="*/ 750 h 8533"/>
                <a:gd name="T44" fmla="*/ 8033 w 8533"/>
                <a:gd name="T45" fmla="*/ 5017 h 8533"/>
                <a:gd name="T46" fmla="*/ 500 w 8533"/>
                <a:gd name="T47" fmla="*/ 5017 h 8533"/>
                <a:gd name="T48" fmla="*/ 500 w 8533"/>
                <a:gd name="T49" fmla="*/ 750 h 8533"/>
                <a:gd name="T50" fmla="*/ 750 w 8533"/>
                <a:gd name="T51" fmla="*/ 500 h 8533"/>
                <a:gd name="T52" fmla="*/ 4921 w 8533"/>
                <a:gd name="T53" fmla="*/ 8033 h 8533"/>
                <a:gd name="T54" fmla="*/ 3612 w 8533"/>
                <a:gd name="T55" fmla="*/ 8033 h 8533"/>
                <a:gd name="T56" fmla="*/ 3948 w 8533"/>
                <a:gd name="T57" fmla="*/ 7017 h 8533"/>
                <a:gd name="T58" fmla="*/ 4586 w 8533"/>
                <a:gd name="T59" fmla="*/ 7017 h 8533"/>
                <a:gd name="T60" fmla="*/ 4921 w 8533"/>
                <a:gd name="T61" fmla="*/ 8033 h 8533"/>
                <a:gd name="T62" fmla="*/ 7783 w 8533"/>
                <a:gd name="T63" fmla="*/ 6517 h 8533"/>
                <a:gd name="T64" fmla="*/ 750 w 8533"/>
                <a:gd name="T65" fmla="*/ 6517 h 8533"/>
                <a:gd name="T66" fmla="*/ 500 w 8533"/>
                <a:gd name="T67" fmla="*/ 6267 h 8533"/>
                <a:gd name="T68" fmla="*/ 500 w 8533"/>
                <a:gd name="T69" fmla="*/ 5517 h 8533"/>
                <a:gd name="T70" fmla="*/ 8033 w 8533"/>
                <a:gd name="T71" fmla="*/ 5517 h 8533"/>
                <a:gd name="T72" fmla="*/ 8033 w 8533"/>
                <a:gd name="T73" fmla="*/ 6267 h 8533"/>
                <a:gd name="T74" fmla="*/ 7783 w 8533"/>
                <a:gd name="T75" fmla="*/ 6517 h 8533"/>
                <a:gd name="T76" fmla="*/ 7783 w 8533"/>
                <a:gd name="T77" fmla="*/ 6517 h 8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533" h="8533">
                  <a:moveTo>
                    <a:pt x="7783" y="0"/>
                  </a:moveTo>
                  <a:lnTo>
                    <a:pt x="750" y="0"/>
                  </a:lnTo>
                  <a:cubicBezTo>
                    <a:pt x="336" y="0"/>
                    <a:pt x="0" y="336"/>
                    <a:pt x="0" y="750"/>
                  </a:cubicBezTo>
                  <a:lnTo>
                    <a:pt x="0" y="6267"/>
                  </a:lnTo>
                  <a:cubicBezTo>
                    <a:pt x="0" y="6680"/>
                    <a:pt x="336" y="7017"/>
                    <a:pt x="750" y="7017"/>
                  </a:cubicBezTo>
                  <a:lnTo>
                    <a:pt x="3421" y="7017"/>
                  </a:lnTo>
                  <a:lnTo>
                    <a:pt x="3086" y="8033"/>
                  </a:lnTo>
                  <a:lnTo>
                    <a:pt x="2267" y="8033"/>
                  </a:lnTo>
                  <a:cubicBezTo>
                    <a:pt x="2129" y="8033"/>
                    <a:pt x="2017" y="8145"/>
                    <a:pt x="2017" y="8283"/>
                  </a:cubicBezTo>
                  <a:cubicBezTo>
                    <a:pt x="2017" y="8421"/>
                    <a:pt x="2129" y="8533"/>
                    <a:pt x="2267" y="8533"/>
                  </a:cubicBezTo>
                  <a:lnTo>
                    <a:pt x="6267" y="8533"/>
                  </a:lnTo>
                  <a:cubicBezTo>
                    <a:pt x="6405" y="8533"/>
                    <a:pt x="6517" y="8421"/>
                    <a:pt x="6517" y="8283"/>
                  </a:cubicBezTo>
                  <a:cubicBezTo>
                    <a:pt x="6517" y="8145"/>
                    <a:pt x="6405" y="8033"/>
                    <a:pt x="6267" y="8033"/>
                  </a:cubicBezTo>
                  <a:lnTo>
                    <a:pt x="5447" y="8033"/>
                  </a:lnTo>
                  <a:lnTo>
                    <a:pt x="5112" y="7017"/>
                  </a:lnTo>
                  <a:lnTo>
                    <a:pt x="7783" y="7017"/>
                  </a:lnTo>
                  <a:cubicBezTo>
                    <a:pt x="8197" y="7017"/>
                    <a:pt x="8533" y="6680"/>
                    <a:pt x="8533" y="6267"/>
                  </a:cubicBezTo>
                  <a:lnTo>
                    <a:pt x="8533" y="750"/>
                  </a:lnTo>
                  <a:cubicBezTo>
                    <a:pt x="8533" y="336"/>
                    <a:pt x="8197" y="0"/>
                    <a:pt x="7783" y="0"/>
                  </a:cubicBezTo>
                  <a:close/>
                  <a:moveTo>
                    <a:pt x="750" y="500"/>
                  </a:moveTo>
                  <a:lnTo>
                    <a:pt x="7783" y="500"/>
                  </a:lnTo>
                  <a:cubicBezTo>
                    <a:pt x="7921" y="500"/>
                    <a:pt x="8033" y="612"/>
                    <a:pt x="8033" y="750"/>
                  </a:cubicBezTo>
                  <a:lnTo>
                    <a:pt x="8033" y="5017"/>
                  </a:lnTo>
                  <a:lnTo>
                    <a:pt x="500" y="5017"/>
                  </a:lnTo>
                  <a:lnTo>
                    <a:pt x="500" y="750"/>
                  </a:lnTo>
                  <a:cubicBezTo>
                    <a:pt x="500" y="612"/>
                    <a:pt x="612" y="500"/>
                    <a:pt x="750" y="500"/>
                  </a:cubicBezTo>
                  <a:close/>
                  <a:moveTo>
                    <a:pt x="4921" y="8033"/>
                  </a:moveTo>
                  <a:lnTo>
                    <a:pt x="3612" y="8033"/>
                  </a:lnTo>
                  <a:lnTo>
                    <a:pt x="3948" y="7017"/>
                  </a:lnTo>
                  <a:lnTo>
                    <a:pt x="4586" y="7017"/>
                  </a:lnTo>
                  <a:lnTo>
                    <a:pt x="4921" y="8033"/>
                  </a:lnTo>
                  <a:close/>
                  <a:moveTo>
                    <a:pt x="7783" y="6517"/>
                  </a:moveTo>
                  <a:lnTo>
                    <a:pt x="750" y="6517"/>
                  </a:lnTo>
                  <a:cubicBezTo>
                    <a:pt x="612" y="6517"/>
                    <a:pt x="500" y="6404"/>
                    <a:pt x="500" y="6267"/>
                  </a:cubicBezTo>
                  <a:lnTo>
                    <a:pt x="500" y="5517"/>
                  </a:lnTo>
                  <a:lnTo>
                    <a:pt x="8033" y="5517"/>
                  </a:lnTo>
                  <a:lnTo>
                    <a:pt x="8033" y="6267"/>
                  </a:lnTo>
                  <a:cubicBezTo>
                    <a:pt x="8033" y="6404"/>
                    <a:pt x="7921" y="6517"/>
                    <a:pt x="7783" y="6517"/>
                  </a:cubicBezTo>
                  <a:close/>
                  <a:moveTo>
                    <a:pt x="7783" y="6517"/>
                  </a:move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1438C213-D231-C840-80DB-218A534541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3363" y="1052513"/>
              <a:ext cx="331787" cy="333375"/>
            </a:xfrm>
            <a:custGeom>
              <a:avLst/>
              <a:gdLst>
                <a:gd name="T0" fmla="*/ 250 w 3534"/>
                <a:gd name="T1" fmla="*/ 3035 h 3535"/>
                <a:gd name="T2" fmla="*/ 500 w 3534"/>
                <a:gd name="T3" fmla="*/ 3035 h 3535"/>
                <a:gd name="T4" fmla="*/ 500 w 3534"/>
                <a:gd name="T5" fmla="*/ 3285 h 3535"/>
                <a:gd name="T6" fmla="*/ 750 w 3534"/>
                <a:gd name="T7" fmla="*/ 3535 h 3535"/>
                <a:gd name="T8" fmla="*/ 1000 w 3534"/>
                <a:gd name="T9" fmla="*/ 3285 h 3535"/>
                <a:gd name="T10" fmla="*/ 1000 w 3534"/>
                <a:gd name="T11" fmla="*/ 3035 h 3535"/>
                <a:gd name="T12" fmla="*/ 3250 w 3534"/>
                <a:gd name="T13" fmla="*/ 3035 h 3535"/>
                <a:gd name="T14" fmla="*/ 3500 w 3534"/>
                <a:gd name="T15" fmla="*/ 2785 h 3535"/>
                <a:gd name="T16" fmla="*/ 3250 w 3534"/>
                <a:gd name="T17" fmla="*/ 2535 h 3535"/>
                <a:gd name="T18" fmla="*/ 1217 w 3534"/>
                <a:gd name="T19" fmla="*/ 2535 h 3535"/>
                <a:gd name="T20" fmla="*/ 1789 w 3534"/>
                <a:gd name="T21" fmla="*/ 1677 h 3535"/>
                <a:gd name="T22" fmla="*/ 2073 w 3534"/>
                <a:gd name="T23" fmla="*/ 1961 h 3535"/>
                <a:gd name="T24" fmla="*/ 2274 w 3534"/>
                <a:gd name="T25" fmla="*/ 2033 h 3535"/>
                <a:gd name="T26" fmla="*/ 2458 w 3534"/>
                <a:gd name="T27" fmla="*/ 1923 h 3535"/>
                <a:gd name="T28" fmla="*/ 3458 w 3534"/>
                <a:gd name="T29" fmla="*/ 423 h 3535"/>
                <a:gd name="T30" fmla="*/ 3388 w 3534"/>
                <a:gd name="T31" fmla="*/ 77 h 3535"/>
                <a:gd name="T32" fmla="*/ 3042 w 3534"/>
                <a:gd name="T33" fmla="*/ 146 h 3535"/>
                <a:gd name="T34" fmla="*/ 2211 w 3534"/>
                <a:gd name="T35" fmla="*/ 1392 h 3535"/>
                <a:gd name="T36" fmla="*/ 1926 w 3534"/>
                <a:gd name="T37" fmla="*/ 1108 h 3535"/>
                <a:gd name="T38" fmla="*/ 1725 w 3534"/>
                <a:gd name="T39" fmla="*/ 1036 h 3535"/>
                <a:gd name="T40" fmla="*/ 1542 w 3534"/>
                <a:gd name="T41" fmla="*/ 1146 h 3535"/>
                <a:gd name="T42" fmla="*/ 1000 w 3534"/>
                <a:gd name="T43" fmla="*/ 1959 h 3535"/>
                <a:gd name="T44" fmla="*/ 1000 w 3534"/>
                <a:gd name="T45" fmla="*/ 285 h 3535"/>
                <a:gd name="T46" fmla="*/ 750 w 3534"/>
                <a:gd name="T47" fmla="*/ 35 h 3535"/>
                <a:gd name="T48" fmla="*/ 500 w 3534"/>
                <a:gd name="T49" fmla="*/ 285 h 3535"/>
                <a:gd name="T50" fmla="*/ 500 w 3534"/>
                <a:gd name="T51" fmla="*/ 2535 h 3535"/>
                <a:gd name="T52" fmla="*/ 250 w 3534"/>
                <a:gd name="T53" fmla="*/ 2535 h 3535"/>
                <a:gd name="T54" fmla="*/ 0 w 3534"/>
                <a:gd name="T55" fmla="*/ 2785 h 3535"/>
                <a:gd name="T56" fmla="*/ 250 w 3534"/>
                <a:gd name="T57" fmla="*/ 3035 h 3535"/>
                <a:gd name="T58" fmla="*/ 250 w 3534"/>
                <a:gd name="T59" fmla="*/ 3035 h 3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34" h="3535">
                  <a:moveTo>
                    <a:pt x="250" y="3035"/>
                  </a:moveTo>
                  <a:lnTo>
                    <a:pt x="500" y="3035"/>
                  </a:lnTo>
                  <a:lnTo>
                    <a:pt x="500" y="3285"/>
                  </a:lnTo>
                  <a:cubicBezTo>
                    <a:pt x="500" y="3423"/>
                    <a:pt x="612" y="3535"/>
                    <a:pt x="750" y="3535"/>
                  </a:cubicBezTo>
                  <a:cubicBezTo>
                    <a:pt x="888" y="3535"/>
                    <a:pt x="1000" y="3423"/>
                    <a:pt x="1000" y="3285"/>
                  </a:cubicBezTo>
                  <a:lnTo>
                    <a:pt x="1000" y="3035"/>
                  </a:lnTo>
                  <a:lnTo>
                    <a:pt x="3250" y="3035"/>
                  </a:lnTo>
                  <a:cubicBezTo>
                    <a:pt x="3388" y="3035"/>
                    <a:pt x="3500" y="2923"/>
                    <a:pt x="3500" y="2785"/>
                  </a:cubicBezTo>
                  <a:cubicBezTo>
                    <a:pt x="3500" y="2647"/>
                    <a:pt x="3388" y="2535"/>
                    <a:pt x="3250" y="2535"/>
                  </a:cubicBezTo>
                  <a:lnTo>
                    <a:pt x="1217" y="2535"/>
                  </a:lnTo>
                  <a:lnTo>
                    <a:pt x="1789" y="1677"/>
                  </a:lnTo>
                  <a:lnTo>
                    <a:pt x="2073" y="1961"/>
                  </a:lnTo>
                  <a:cubicBezTo>
                    <a:pt x="2126" y="2014"/>
                    <a:pt x="2200" y="2041"/>
                    <a:pt x="2274" y="2033"/>
                  </a:cubicBezTo>
                  <a:cubicBezTo>
                    <a:pt x="2349" y="2026"/>
                    <a:pt x="2416" y="1986"/>
                    <a:pt x="2458" y="1923"/>
                  </a:cubicBezTo>
                  <a:lnTo>
                    <a:pt x="3458" y="423"/>
                  </a:lnTo>
                  <a:cubicBezTo>
                    <a:pt x="3534" y="308"/>
                    <a:pt x="3503" y="153"/>
                    <a:pt x="3388" y="77"/>
                  </a:cubicBezTo>
                  <a:cubicBezTo>
                    <a:pt x="3273" y="0"/>
                    <a:pt x="3118" y="31"/>
                    <a:pt x="3042" y="146"/>
                  </a:cubicBezTo>
                  <a:lnTo>
                    <a:pt x="2211" y="1392"/>
                  </a:lnTo>
                  <a:lnTo>
                    <a:pt x="1926" y="1108"/>
                  </a:lnTo>
                  <a:cubicBezTo>
                    <a:pt x="1873" y="1055"/>
                    <a:pt x="1800" y="1028"/>
                    <a:pt x="1725" y="1036"/>
                  </a:cubicBezTo>
                  <a:cubicBezTo>
                    <a:pt x="1651" y="1043"/>
                    <a:pt x="1583" y="1084"/>
                    <a:pt x="1542" y="1146"/>
                  </a:cubicBezTo>
                  <a:lnTo>
                    <a:pt x="1000" y="1959"/>
                  </a:lnTo>
                  <a:lnTo>
                    <a:pt x="1000" y="285"/>
                  </a:lnTo>
                  <a:cubicBezTo>
                    <a:pt x="1000" y="147"/>
                    <a:pt x="888" y="35"/>
                    <a:pt x="750" y="35"/>
                  </a:cubicBezTo>
                  <a:cubicBezTo>
                    <a:pt x="612" y="35"/>
                    <a:pt x="500" y="147"/>
                    <a:pt x="500" y="285"/>
                  </a:cubicBezTo>
                  <a:lnTo>
                    <a:pt x="500" y="2535"/>
                  </a:lnTo>
                  <a:lnTo>
                    <a:pt x="250" y="2535"/>
                  </a:lnTo>
                  <a:cubicBezTo>
                    <a:pt x="112" y="2535"/>
                    <a:pt x="0" y="2647"/>
                    <a:pt x="0" y="2785"/>
                  </a:cubicBezTo>
                  <a:cubicBezTo>
                    <a:pt x="0" y="2923"/>
                    <a:pt x="112" y="3035"/>
                    <a:pt x="250" y="3035"/>
                  </a:cubicBezTo>
                  <a:close/>
                  <a:moveTo>
                    <a:pt x="250" y="3035"/>
                  </a:move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0239B11C-D5B1-AB4B-98CC-6FE9A81339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9600" y="1055688"/>
              <a:ext cx="141287" cy="47625"/>
            </a:xfrm>
            <a:custGeom>
              <a:avLst/>
              <a:gdLst>
                <a:gd name="T0" fmla="*/ 250 w 1500"/>
                <a:gd name="T1" fmla="*/ 500 h 500"/>
                <a:gd name="T2" fmla="*/ 1250 w 1500"/>
                <a:gd name="T3" fmla="*/ 500 h 500"/>
                <a:gd name="T4" fmla="*/ 1500 w 1500"/>
                <a:gd name="T5" fmla="*/ 250 h 500"/>
                <a:gd name="T6" fmla="*/ 1250 w 1500"/>
                <a:gd name="T7" fmla="*/ 0 h 500"/>
                <a:gd name="T8" fmla="*/ 250 w 1500"/>
                <a:gd name="T9" fmla="*/ 0 h 500"/>
                <a:gd name="T10" fmla="*/ 0 w 1500"/>
                <a:gd name="T11" fmla="*/ 250 h 500"/>
                <a:gd name="T12" fmla="*/ 250 w 1500"/>
                <a:gd name="T13" fmla="*/ 500 h 500"/>
                <a:gd name="T14" fmla="*/ 250 w 1500"/>
                <a:gd name="T15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00" h="500">
                  <a:moveTo>
                    <a:pt x="250" y="500"/>
                  </a:moveTo>
                  <a:lnTo>
                    <a:pt x="1250" y="500"/>
                  </a:lnTo>
                  <a:cubicBezTo>
                    <a:pt x="1388" y="500"/>
                    <a:pt x="1500" y="388"/>
                    <a:pt x="1500" y="250"/>
                  </a:cubicBezTo>
                  <a:cubicBezTo>
                    <a:pt x="1500" y="112"/>
                    <a:pt x="1388" y="0"/>
                    <a:pt x="1250" y="0"/>
                  </a:cubicBezTo>
                  <a:lnTo>
                    <a:pt x="250" y="0"/>
                  </a:lnTo>
                  <a:cubicBezTo>
                    <a:pt x="112" y="0"/>
                    <a:pt x="0" y="112"/>
                    <a:pt x="0" y="250"/>
                  </a:cubicBezTo>
                  <a:cubicBezTo>
                    <a:pt x="0" y="388"/>
                    <a:pt x="112" y="500"/>
                    <a:pt x="250" y="500"/>
                  </a:cubicBezTo>
                  <a:close/>
                  <a:moveTo>
                    <a:pt x="250" y="500"/>
                  </a:move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7C02CF7D-23C7-5949-932B-E61D39210A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9600" y="1150938"/>
              <a:ext cx="141287" cy="46037"/>
            </a:xfrm>
            <a:custGeom>
              <a:avLst/>
              <a:gdLst>
                <a:gd name="T0" fmla="*/ 250 w 1500"/>
                <a:gd name="T1" fmla="*/ 500 h 500"/>
                <a:gd name="T2" fmla="*/ 1250 w 1500"/>
                <a:gd name="T3" fmla="*/ 500 h 500"/>
                <a:gd name="T4" fmla="*/ 1500 w 1500"/>
                <a:gd name="T5" fmla="*/ 250 h 500"/>
                <a:gd name="T6" fmla="*/ 1250 w 1500"/>
                <a:gd name="T7" fmla="*/ 0 h 500"/>
                <a:gd name="T8" fmla="*/ 250 w 1500"/>
                <a:gd name="T9" fmla="*/ 0 h 500"/>
                <a:gd name="T10" fmla="*/ 0 w 1500"/>
                <a:gd name="T11" fmla="*/ 250 h 500"/>
                <a:gd name="T12" fmla="*/ 250 w 1500"/>
                <a:gd name="T13" fmla="*/ 500 h 500"/>
                <a:gd name="T14" fmla="*/ 250 w 1500"/>
                <a:gd name="T15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00" h="500">
                  <a:moveTo>
                    <a:pt x="250" y="500"/>
                  </a:moveTo>
                  <a:lnTo>
                    <a:pt x="1250" y="500"/>
                  </a:lnTo>
                  <a:cubicBezTo>
                    <a:pt x="1388" y="500"/>
                    <a:pt x="1500" y="388"/>
                    <a:pt x="1500" y="250"/>
                  </a:cubicBezTo>
                  <a:cubicBezTo>
                    <a:pt x="1500" y="112"/>
                    <a:pt x="1388" y="0"/>
                    <a:pt x="1250" y="0"/>
                  </a:cubicBezTo>
                  <a:lnTo>
                    <a:pt x="250" y="0"/>
                  </a:lnTo>
                  <a:cubicBezTo>
                    <a:pt x="112" y="0"/>
                    <a:pt x="0" y="112"/>
                    <a:pt x="0" y="250"/>
                  </a:cubicBezTo>
                  <a:cubicBezTo>
                    <a:pt x="0" y="388"/>
                    <a:pt x="112" y="500"/>
                    <a:pt x="250" y="500"/>
                  </a:cubicBezTo>
                  <a:close/>
                  <a:moveTo>
                    <a:pt x="250" y="500"/>
                  </a:move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33CA0653-DD26-1146-8CE9-1E992C3988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9600" y="1244600"/>
              <a:ext cx="141287" cy="47625"/>
            </a:xfrm>
            <a:custGeom>
              <a:avLst/>
              <a:gdLst>
                <a:gd name="T0" fmla="*/ 250 w 1500"/>
                <a:gd name="T1" fmla="*/ 500 h 500"/>
                <a:gd name="T2" fmla="*/ 1250 w 1500"/>
                <a:gd name="T3" fmla="*/ 500 h 500"/>
                <a:gd name="T4" fmla="*/ 1500 w 1500"/>
                <a:gd name="T5" fmla="*/ 250 h 500"/>
                <a:gd name="T6" fmla="*/ 1250 w 1500"/>
                <a:gd name="T7" fmla="*/ 0 h 500"/>
                <a:gd name="T8" fmla="*/ 250 w 1500"/>
                <a:gd name="T9" fmla="*/ 0 h 500"/>
                <a:gd name="T10" fmla="*/ 0 w 1500"/>
                <a:gd name="T11" fmla="*/ 250 h 500"/>
                <a:gd name="T12" fmla="*/ 250 w 1500"/>
                <a:gd name="T13" fmla="*/ 500 h 500"/>
                <a:gd name="T14" fmla="*/ 250 w 1500"/>
                <a:gd name="T15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00" h="500">
                  <a:moveTo>
                    <a:pt x="250" y="500"/>
                  </a:moveTo>
                  <a:lnTo>
                    <a:pt x="1250" y="500"/>
                  </a:lnTo>
                  <a:cubicBezTo>
                    <a:pt x="1388" y="500"/>
                    <a:pt x="1500" y="388"/>
                    <a:pt x="1500" y="250"/>
                  </a:cubicBezTo>
                  <a:cubicBezTo>
                    <a:pt x="1500" y="112"/>
                    <a:pt x="1388" y="0"/>
                    <a:pt x="1250" y="0"/>
                  </a:cubicBezTo>
                  <a:lnTo>
                    <a:pt x="250" y="0"/>
                  </a:lnTo>
                  <a:cubicBezTo>
                    <a:pt x="112" y="0"/>
                    <a:pt x="0" y="112"/>
                    <a:pt x="0" y="250"/>
                  </a:cubicBezTo>
                  <a:cubicBezTo>
                    <a:pt x="0" y="388"/>
                    <a:pt x="112" y="500"/>
                    <a:pt x="250" y="500"/>
                  </a:cubicBezTo>
                  <a:close/>
                  <a:moveTo>
                    <a:pt x="250" y="500"/>
                  </a:move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C4C00F79-FA63-E14D-B63E-64EEF76B53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9600" y="1338263"/>
              <a:ext cx="141287" cy="47625"/>
            </a:xfrm>
            <a:custGeom>
              <a:avLst/>
              <a:gdLst>
                <a:gd name="T0" fmla="*/ 250 w 1500"/>
                <a:gd name="T1" fmla="*/ 500 h 500"/>
                <a:gd name="T2" fmla="*/ 1250 w 1500"/>
                <a:gd name="T3" fmla="*/ 500 h 500"/>
                <a:gd name="T4" fmla="*/ 1500 w 1500"/>
                <a:gd name="T5" fmla="*/ 250 h 500"/>
                <a:gd name="T6" fmla="*/ 1250 w 1500"/>
                <a:gd name="T7" fmla="*/ 0 h 500"/>
                <a:gd name="T8" fmla="*/ 250 w 1500"/>
                <a:gd name="T9" fmla="*/ 0 h 500"/>
                <a:gd name="T10" fmla="*/ 0 w 1500"/>
                <a:gd name="T11" fmla="*/ 250 h 500"/>
                <a:gd name="T12" fmla="*/ 250 w 1500"/>
                <a:gd name="T13" fmla="*/ 500 h 500"/>
                <a:gd name="T14" fmla="*/ 250 w 1500"/>
                <a:gd name="T15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00" h="500">
                  <a:moveTo>
                    <a:pt x="250" y="500"/>
                  </a:moveTo>
                  <a:lnTo>
                    <a:pt x="1250" y="500"/>
                  </a:lnTo>
                  <a:cubicBezTo>
                    <a:pt x="1388" y="500"/>
                    <a:pt x="1500" y="388"/>
                    <a:pt x="1500" y="250"/>
                  </a:cubicBezTo>
                  <a:cubicBezTo>
                    <a:pt x="1500" y="112"/>
                    <a:pt x="1388" y="0"/>
                    <a:pt x="1250" y="0"/>
                  </a:cubicBezTo>
                  <a:lnTo>
                    <a:pt x="250" y="0"/>
                  </a:lnTo>
                  <a:cubicBezTo>
                    <a:pt x="112" y="0"/>
                    <a:pt x="0" y="112"/>
                    <a:pt x="0" y="250"/>
                  </a:cubicBezTo>
                  <a:cubicBezTo>
                    <a:pt x="0" y="388"/>
                    <a:pt x="112" y="500"/>
                    <a:pt x="250" y="500"/>
                  </a:cubicBezTo>
                  <a:close/>
                  <a:moveTo>
                    <a:pt x="250" y="500"/>
                  </a:move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028CD7D5-5CE9-6A44-93BE-33C410AC88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4500" y="1503363"/>
              <a:ext cx="95250" cy="47625"/>
            </a:xfrm>
            <a:custGeom>
              <a:avLst/>
              <a:gdLst>
                <a:gd name="T0" fmla="*/ 750 w 1000"/>
                <a:gd name="T1" fmla="*/ 0 h 500"/>
                <a:gd name="T2" fmla="*/ 250 w 1000"/>
                <a:gd name="T3" fmla="*/ 0 h 500"/>
                <a:gd name="T4" fmla="*/ 0 w 1000"/>
                <a:gd name="T5" fmla="*/ 250 h 500"/>
                <a:gd name="T6" fmla="*/ 250 w 1000"/>
                <a:gd name="T7" fmla="*/ 500 h 500"/>
                <a:gd name="T8" fmla="*/ 750 w 1000"/>
                <a:gd name="T9" fmla="*/ 500 h 500"/>
                <a:gd name="T10" fmla="*/ 1000 w 1000"/>
                <a:gd name="T11" fmla="*/ 250 h 500"/>
                <a:gd name="T12" fmla="*/ 750 w 1000"/>
                <a:gd name="T13" fmla="*/ 0 h 500"/>
                <a:gd name="T14" fmla="*/ 750 w 1000"/>
                <a:gd name="T15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0" h="500">
                  <a:moveTo>
                    <a:pt x="750" y="0"/>
                  </a:moveTo>
                  <a:lnTo>
                    <a:pt x="250" y="0"/>
                  </a:lnTo>
                  <a:cubicBezTo>
                    <a:pt x="112" y="0"/>
                    <a:pt x="0" y="112"/>
                    <a:pt x="0" y="250"/>
                  </a:cubicBezTo>
                  <a:cubicBezTo>
                    <a:pt x="0" y="388"/>
                    <a:pt x="112" y="500"/>
                    <a:pt x="250" y="500"/>
                  </a:cubicBezTo>
                  <a:lnTo>
                    <a:pt x="750" y="500"/>
                  </a:lnTo>
                  <a:cubicBezTo>
                    <a:pt x="888" y="500"/>
                    <a:pt x="1000" y="388"/>
                    <a:pt x="1000" y="250"/>
                  </a:cubicBezTo>
                  <a:cubicBezTo>
                    <a:pt x="1000" y="112"/>
                    <a:pt x="888" y="0"/>
                    <a:pt x="750" y="0"/>
                  </a:cubicBezTo>
                  <a:close/>
                  <a:moveTo>
                    <a:pt x="750" y="0"/>
                  </a:move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548">
            <a:extLst>
              <a:ext uri="{FF2B5EF4-FFF2-40B4-BE49-F238E27FC236}">
                <a16:creationId xmlns:a16="http://schemas.microsoft.com/office/drawing/2014/main" id="{40F6615B-BC19-5144-9717-6F798F08D662}"/>
              </a:ext>
            </a:extLst>
          </p:cNvPr>
          <p:cNvGrpSpPr/>
          <p:nvPr/>
        </p:nvGrpSpPr>
        <p:grpSpPr>
          <a:xfrm>
            <a:off x="3988407" y="5425915"/>
            <a:ext cx="316664" cy="444564"/>
            <a:chOff x="5789613" y="3771900"/>
            <a:chExt cx="569913" cy="800101"/>
          </a:xfrm>
          <a:solidFill>
            <a:schemeClr val="accent1"/>
          </a:solidFill>
        </p:grpSpPr>
        <p:sp>
          <p:nvSpPr>
            <p:cNvPr id="63" name="Freeform 245">
              <a:extLst>
                <a:ext uri="{FF2B5EF4-FFF2-40B4-BE49-F238E27FC236}">
                  <a16:creationId xmlns:a16="http://schemas.microsoft.com/office/drawing/2014/main" id="{38CA65DC-D5A5-2F4B-914E-F3437C18E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9613" y="3771900"/>
              <a:ext cx="569913" cy="417513"/>
            </a:xfrm>
            <a:custGeom>
              <a:avLst/>
              <a:gdLst>
                <a:gd name="T0" fmla="*/ 4513 w 4550"/>
                <a:gd name="T1" fmla="*/ 1137 h 3339"/>
                <a:gd name="T2" fmla="*/ 3413 w 4550"/>
                <a:gd name="T3" fmla="*/ 37 h 3339"/>
                <a:gd name="T4" fmla="*/ 3325 w 4550"/>
                <a:gd name="T5" fmla="*/ 0 h 3339"/>
                <a:gd name="T6" fmla="*/ 325 w 4550"/>
                <a:gd name="T7" fmla="*/ 0 h 3339"/>
                <a:gd name="T8" fmla="*/ 0 w 4550"/>
                <a:gd name="T9" fmla="*/ 325 h 3339"/>
                <a:gd name="T10" fmla="*/ 0 w 4550"/>
                <a:gd name="T11" fmla="*/ 3214 h 3339"/>
                <a:gd name="T12" fmla="*/ 125 w 4550"/>
                <a:gd name="T13" fmla="*/ 3339 h 3339"/>
                <a:gd name="T14" fmla="*/ 250 w 4550"/>
                <a:gd name="T15" fmla="*/ 3214 h 3339"/>
                <a:gd name="T16" fmla="*/ 250 w 4550"/>
                <a:gd name="T17" fmla="*/ 325 h 3339"/>
                <a:gd name="T18" fmla="*/ 325 w 4550"/>
                <a:gd name="T19" fmla="*/ 250 h 3339"/>
                <a:gd name="T20" fmla="*/ 3200 w 4550"/>
                <a:gd name="T21" fmla="*/ 250 h 3339"/>
                <a:gd name="T22" fmla="*/ 3200 w 4550"/>
                <a:gd name="T23" fmla="*/ 1025 h 3339"/>
                <a:gd name="T24" fmla="*/ 3525 w 4550"/>
                <a:gd name="T25" fmla="*/ 1350 h 3339"/>
                <a:gd name="T26" fmla="*/ 4300 w 4550"/>
                <a:gd name="T27" fmla="*/ 1350 h 3339"/>
                <a:gd name="T28" fmla="*/ 4300 w 4550"/>
                <a:gd name="T29" fmla="*/ 2716 h 3339"/>
                <a:gd name="T30" fmla="*/ 4425 w 4550"/>
                <a:gd name="T31" fmla="*/ 2841 h 3339"/>
                <a:gd name="T32" fmla="*/ 4550 w 4550"/>
                <a:gd name="T33" fmla="*/ 2716 h 3339"/>
                <a:gd name="T34" fmla="*/ 4550 w 4550"/>
                <a:gd name="T35" fmla="*/ 1225 h 3339"/>
                <a:gd name="T36" fmla="*/ 4513 w 4550"/>
                <a:gd name="T37" fmla="*/ 1137 h 3339"/>
                <a:gd name="T38" fmla="*/ 3525 w 4550"/>
                <a:gd name="T39" fmla="*/ 1100 h 3339"/>
                <a:gd name="T40" fmla="*/ 3450 w 4550"/>
                <a:gd name="T41" fmla="*/ 1025 h 3339"/>
                <a:gd name="T42" fmla="*/ 3450 w 4550"/>
                <a:gd name="T43" fmla="*/ 427 h 3339"/>
                <a:gd name="T44" fmla="*/ 4123 w 4550"/>
                <a:gd name="T45" fmla="*/ 1100 h 3339"/>
                <a:gd name="T46" fmla="*/ 3525 w 4550"/>
                <a:gd name="T47" fmla="*/ 1100 h 3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50" h="3339">
                  <a:moveTo>
                    <a:pt x="4513" y="1137"/>
                  </a:moveTo>
                  <a:lnTo>
                    <a:pt x="3413" y="37"/>
                  </a:lnTo>
                  <a:cubicBezTo>
                    <a:pt x="3390" y="13"/>
                    <a:pt x="3358" y="0"/>
                    <a:pt x="3325" y="0"/>
                  </a:cubicBezTo>
                  <a:lnTo>
                    <a:pt x="325" y="0"/>
                  </a:lnTo>
                  <a:cubicBezTo>
                    <a:pt x="146" y="0"/>
                    <a:pt x="0" y="146"/>
                    <a:pt x="0" y="325"/>
                  </a:cubicBezTo>
                  <a:lnTo>
                    <a:pt x="0" y="3214"/>
                  </a:lnTo>
                  <a:cubicBezTo>
                    <a:pt x="0" y="3283"/>
                    <a:pt x="56" y="3339"/>
                    <a:pt x="125" y="3339"/>
                  </a:cubicBezTo>
                  <a:cubicBezTo>
                    <a:pt x="194" y="3339"/>
                    <a:pt x="250" y="3283"/>
                    <a:pt x="250" y="3214"/>
                  </a:cubicBezTo>
                  <a:lnTo>
                    <a:pt x="250" y="325"/>
                  </a:lnTo>
                  <a:cubicBezTo>
                    <a:pt x="250" y="284"/>
                    <a:pt x="284" y="250"/>
                    <a:pt x="325" y="250"/>
                  </a:cubicBezTo>
                  <a:lnTo>
                    <a:pt x="3200" y="250"/>
                  </a:lnTo>
                  <a:lnTo>
                    <a:pt x="3200" y="1025"/>
                  </a:lnTo>
                  <a:cubicBezTo>
                    <a:pt x="3200" y="1204"/>
                    <a:pt x="3346" y="1350"/>
                    <a:pt x="3525" y="1350"/>
                  </a:cubicBezTo>
                  <a:lnTo>
                    <a:pt x="4300" y="1350"/>
                  </a:lnTo>
                  <a:lnTo>
                    <a:pt x="4300" y="2716"/>
                  </a:lnTo>
                  <a:cubicBezTo>
                    <a:pt x="4300" y="2785"/>
                    <a:pt x="4356" y="2841"/>
                    <a:pt x="4425" y="2841"/>
                  </a:cubicBezTo>
                  <a:cubicBezTo>
                    <a:pt x="4494" y="2841"/>
                    <a:pt x="4550" y="2785"/>
                    <a:pt x="4550" y="2716"/>
                  </a:cubicBezTo>
                  <a:lnTo>
                    <a:pt x="4550" y="1225"/>
                  </a:lnTo>
                  <a:cubicBezTo>
                    <a:pt x="4550" y="1192"/>
                    <a:pt x="4537" y="1160"/>
                    <a:pt x="4513" y="1137"/>
                  </a:cubicBezTo>
                  <a:close/>
                  <a:moveTo>
                    <a:pt x="3525" y="1100"/>
                  </a:moveTo>
                  <a:cubicBezTo>
                    <a:pt x="3484" y="1100"/>
                    <a:pt x="3450" y="1066"/>
                    <a:pt x="3450" y="1025"/>
                  </a:cubicBezTo>
                  <a:lnTo>
                    <a:pt x="3450" y="427"/>
                  </a:lnTo>
                  <a:lnTo>
                    <a:pt x="4123" y="1100"/>
                  </a:lnTo>
                  <a:lnTo>
                    <a:pt x="3525" y="110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46">
              <a:extLst>
                <a:ext uri="{FF2B5EF4-FFF2-40B4-BE49-F238E27FC236}">
                  <a16:creationId xmlns:a16="http://schemas.microsoft.com/office/drawing/2014/main" id="{30171B50-BD91-8544-B1AE-58F866C2A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775" y="4154488"/>
              <a:ext cx="31750" cy="31750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7 w 250"/>
                <a:gd name="T5" fmla="*/ 37 h 250"/>
                <a:gd name="T6" fmla="*/ 0 w 250"/>
                <a:gd name="T7" fmla="*/ 125 h 250"/>
                <a:gd name="T8" fmla="*/ 37 w 250"/>
                <a:gd name="T9" fmla="*/ 214 h 250"/>
                <a:gd name="T10" fmla="*/ 125 w 250"/>
                <a:gd name="T11" fmla="*/ 250 h 250"/>
                <a:gd name="T12" fmla="*/ 213 w 250"/>
                <a:gd name="T13" fmla="*/ 214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4"/>
                    <a:pt x="158" y="0"/>
                    <a:pt x="125" y="0"/>
                  </a:cubicBezTo>
                  <a:cubicBezTo>
                    <a:pt x="92" y="0"/>
                    <a:pt x="60" y="14"/>
                    <a:pt x="37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7" y="214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4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7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47">
              <a:extLst>
                <a:ext uri="{FF2B5EF4-FFF2-40B4-BE49-F238E27FC236}">
                  <a16:creationId xmlns:a16="http://schemas.microsoft.com/office/drawing/2014/main" id="{E35CBF47-AA80-B643-ADEF-14E9867E7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4263" y="4006850"/>
              <a:ext cx="120650" cy="30163"/>
            </a:xfrm>
            <a:custGeom>
              <a:avLst/>
              <a:gdLst>
                <a:gd name="T0" fmla="*/ 838 w 963"/>
                <a:gd name="T1" fmla="*/ 0 h 250"/>
                <a:gd name="T2" fmla="*/ 125 w 963"/>
                <a:gd name="T3" fmla="*/ 0 h 250"/>
                <a:gd name="T4" fmla="*/ 0 w 963"/>
                <a:gd name="T5" fmla="*/ 125 h 250"/>
                <a:gd name="T6" fmla="*/ 125 w 963"/>
                <a:gd name="T7" fmla="*/ 250 h 250"/>
                <a:gd name="T8" fmla="*/ 838 w 963"/>
                <a:gd name="T9" fmla="*/ 250 h 250"/>
                <a:gd name="T10" fmla="*/ 963 w 963"/>
                <a:gd name="T11" fmla="*/ 125 h 250"/>
                <a:gd name="T12" fmla="*/ 838 w 963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3" h="250">
                  <a:moveTo>
                    <a:pt x="83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838" y="250"/>
                  </a:lnTo>
                  <a:cubicBezTo>
                    <a:pt x="907" y="250"/>
                    <a:pt x="963" y="194"/>
                    <a:pt x="963" y="125"/>
                  </a:cubicBezTo>
                  <a:cubicBezTo>
                    <a:pt x="963" y="56"/>
                    <a:pt x="907" y="0"/>
                    <a:pt x="838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48">
              <a:extLst>
                <a:ext uri="{FF2B5EF4-FFF2-40B4-BE49-F238E27FC236}">
                  <a16:creationId xmlns:a16="http://schemas.microsoft.com/office/drawing/2014/main" id="{D9B5D851-4761-3C4E-884A-AB0EE7C66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25" y="3856038"/>
              <a:ext cx="260350" cy="180975"/>
            </a:xfrm>
            <a:custGeom>
              <a:avLst/>
              <a:gdLst>
                <a:gd name="T0" fmla="*/ 1951 w 2076"/>
                <a:gd name="T1" fmla="*/ 0 h 1450"/>
                <a:gd name="T2" fmla="*/ 125 w 2076"/>
                <a:gd name="T3" fmla="*/ 0 h 1450"/>
                <a:gd name="T4" fmla="*/ 0 w 2076"/>
                <a:gd name="T5" fmla="*/ 125 h 1450"/>
                <a:gd name="T6" fmla="*/ 0 w 2076"/>
                <a:gd name="T7" fmla="*/ 1325 h 1450"/>
                <a:gd name="T8" fmla="*/ 125 w 2076"/>
                <a:gd name="T9" fmla="*/ 1450 h 1450"/>
                <a:gd name="T10" fmla="*/ 347 w 2076"/>
                <a:gd name="T11" fmla="*/ 1450 h 1450"/>
                <a:gd name="T12" fmla="*/ 472 w 2076"/>
                <a:gd name="T13" fmla="*/ 1325 h 1450"/>
                <a:gd name="T14" fmla="*/ 347 w 2076"/>
                <a:gd name="T15" fmla="*/ 1200 h 1450"/>
                <a:gd name="T16" fmla="*/ 250 w 2076"/>
                <a:gd name="T17" fmla="*/ 1200 h 1450"/>
                <a:gd name="T18" fmla="*/ 250 w 2076"/>
                <a:gd name="T19" fmla="*/ 250 h 1450"/>
                <a:gd name="T20" fmla="*/ 1826 w 2076"/>
                <a:gd name="T21" fmla="*/ 250 h 1450"/>
                <a:gd name="T22" fmla="*/ 1826 w 2076"/>
                <a:gd name="T23" fmla="*/ 1200 h 1450"/>
                <a:gd name="T24" fmla="*/ 1780 w 2076"/>
                <a:gd name="T25" fmla="*/ 1200 h 1450"/>
                <a:gd name="T26" fmla="*/ 1655 w 2076"/>
                <a:gd name="T27" fmla="*/ 1325 h 1450"/>
                <a:gd name="T28" fmla="*/ 1780 w 2076"/>
                <a:gd name="T29" fmla="*/ 1450 h 1450"/>
                <a:gd name="T30" fmla="*/ 1951 w 2076"/>
                <a:gd name="T31" fmla="*/ 1450 h 1450"/>
                <a:gd name="T32" fmla="*/ 2076 w 2076"/>
                <a:gd name="T33" fmla="*/ 1325 h 1450"/>
                <a:gd name="T34" fmla="*/ 2076 w 2076"/>
                <a:gd name="T35" fmla="*/ 125 h 1450"/>
                <a:gd name="T36" fmla="*/ 1951 w 2076"/>
                <a:gd name="T37" fmla="*/ 0 h 1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76" h="1450">
                  <a:moveTo>
                    <a:pt x="1951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lnTo>
                    <a:pt x="0" y="1325"/>
                  </a:lnTo>
                  <a:cubicBezTo>
                    <a:pt x="0" y="1394"/>
                    <a:pt x="56" y="1450"/>
                    <a:pt x="125" y="1450"/>
                  </a:cubicBezTo>
                  <a:lnTo>
                    <a:pt x="347" y="1450"/>
                  </a:lnTo>
                  <a:cubicBezTo>
                    <a:pt x="416" y="1450"/>
                    <a:pt x="472" y="1394"/>
                    <a:pt x="472" y="1325"/>
                  </a:cubicBezTo>
                  <a:cubicBezTo>
                    <a:pt x="472" y="1256"/>
                    <a:pt x="416" y="1200"/>
                    <a:pt x="347" y="1200"/>
                  </a:cubicBezTo>
                  <a:lnTo>
                    <a:pt x="250" y="1200"/>
                  </a:lnTo>
                  <a:lnTo>
                    <a:pt x="250" y="250"/>
                  </a:lnTo>
                  <a:lnTo>
                    <a:pt x="1826" y="250"/>
                  </a:lnTo>
                  <a:lnTo>
                    <a:pt x="1826" y="1200"/>
                  </a:lnTo>
                  <a:lnTo>
                    <a:pt x="1780" y="1200"/>
                  </a:lnTo>
                  <a:cubicBezTo>
                    <a:pt x="1711" y="1200"/>
                    <a:pt x="1655" y="1256"/>
                    <a:pt x="1655" y="1325"/>
                  </a:cubicBezTo>
                  <a:cubicBezTo>
                    <a:pt x="1655" y="1394"/>
                    <a:pt x="1711" y="1450"/>
                    <a:pt x="1780" y="1450"/>
                  </a:cubicBezTo>
                  <a:lnTo>
                    <a:pt x="1951" y="1450"/>
                  </a:lnTo>
                  <a:cubicBezTo>
                    <a:pt x="2020" y="1450"/>
                    <a:pt x="2076" y="1394"/>
                    <a:pt x="2076" y="1325"/>
                  </a:cubicBezTo>
                  <a:lnTo>
                    <a:pt x="2076" y="125"/>
                  </a:lnTo>
                  <a:cubicBezTo>
                    <a:pt x="2076" y="56"/>
                    <a:pt x="2020" y="0"/>
                    <a:pt x="1951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49">
              <a:extLst>
                <a:ext uri="{FF2B5EF4-FFF2-40B4-BE49-F238E27FC236}">
                  <a16:creationId xmlns:a16="http://schemas.microsoft.com/office/drawing/2014/main" id="{FAA72F88-A803-614F-BBBD-44275049B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250" y="4006850"/>
              <a:ext cx="369888" cy="565150"/>
            </a:xfrm>
            <a:custGeom>
              <a:avLst/>
              <a:gdLst>
                <a:gd name="T0" fmla="*/ 2488 w 2950"/>
                <a:gd name="T1" fmla="*/ 1623 h 4525"/>
                <a:gd name="T2" fmla="*/ 2256 w 2950"/>
                <a:gd name="T3" fmla="*/ 1685 h 4525"/>
                <a:gd name="T4" fmla="*/ 1813 w 2950"/>
                <a:gd name="T5" fmla="*/ 1354 h 4525"/>
                <a:gd name="T6" fmla="*/ 1475 w 2950"/>
                <a:gd name="T7" fmla="*/ 1501 h 4525"/>
                <a:gd name="T8" fmla="*/ 1138 w 2950"/>
                <a:gd name="T9" fmla="*/ 1354 h 4525"/>
                <a:gd name="T10" fmla="*/ 925 w 2950"/>
                <a:gd name="T11" fmla="*/ 1406 h 4525"/>
                <a:gd name="T12" fmla="*/ 925 w 2950"/>
                <a:gd name="T13" fmla="*/ 462 h 4525"/>
                <a:gd name="T14" fmla="*/ 463 w 2950"/>
                <a:gd name="T15" fmla="*/ 0 h 4525"/>
                <a:gd name="T16" fmla="*/ 0 w 2950"/>
                <a:gd name="T17" fmla="*/ 462 h 4525"/>
                <a:gd name="T18" fmla="*/ 0 w 2950"/>
                <a:gd name="T19" fmla="*/ 1201 h 4525"/>
                <a:gd name="T20" fmla="*/ 125 w 2950"/>
                <a:gd name="T21" fmla="*/ 1326 h 4525"/>
                <a:gd name="T22" fmla="*/ 250 w 2950"/>
                <a:gd name="T23" fmla="*/ 1201 h 4525"/>
                <a:gd name="T24" fmla="*/ 250 w 2950"/>
                <a:gd name="T25" fmla="*/ 462 h 4525"/>
                <a:gd name="T26" fmla="*/ 463 w 2950"/>
                <a:gd name="T27" fmla="*/ 250 h 4525"/>
                <a:gd name="T28" fmla="*/ 675 w 2950"/>
                <a:gd name="T29" fmla="*/ 462 h 4525"/>
                <a:gd name="T30" fmla="*/ 675 w 2950"/>
                <a:gd name="T31" fmla="*/ 2635 h 4525"/>
                <a:gd name="T32" fmla="*/ 800 w 2950"/>
                <a:gd name="T33" fmla="*/ 2760 h 4525"/>
                <a:gd name="T34" fmla="*/ 925 w 2950"/>
                <a:gd name="T35" fmla="*/ 2635 h 4525"/>
                <a:gd name="T36" fmla="*/ 925 w 2950"/>
                <a:gd name="T37" fmla="*/ 1817 h 4525"/>
                <a:gd name="T38" fmla="*/ 1138 w 2950"/>
                <a:gd name="T39" fmla="*/ 1604 h 4525"/>
                <a:gd name="T40" fmla="*/ 1350 w 2950"/>
                <a:gd name="T41" fmla="*/ 1817 h 4525"/>
                <a:gd name="T42" fmla="*/ 1350 w 2950"/>
                <a:gd name="T43" fmla="*/ 2635 h 4525"/>
                <a:gd name="T44" fmla="*/ 1475 w 2950"/>
                <a:gd name="T45" fmla="*/ 2760 h 4525"/>
                <a:gd name="T46" fmla="*/ 1600 w 2950"/>
                <a:gd name="T47" fmla="*/ 2635 h 4525"/>
                <a:gd name="T48" fmla="*/ 1600 w 2950"/>
                <a:gd name="T49" fmla="*/ 1817 h 4525"/>
                <a:gd name="T50" fmla="*/ 1813 w 2950"/>
                <a:gd name="T51" fmla="*/ 1604 h 4525"/>
                <a:gd name="T52" fmla="*/ 2025 w 2950"/>
                <a:gd name="T53" fmla="*/ 1817 h 4525"/>
                <a:gd name="T54" fmla="*/ 2025 w 2950"/>
                <a:gd name="T55" fmla="*/ 2635 h 4525"/>
                <a:gd name="T56" fmla="*/ 2150 w 2950"/>
                <a:gd name="T57" fmla="*/ 2760 h 4525"/>
                <a:gd name="T58" fmla="*/ 2275 w 2950"/>
                <a:gd name="T59" fmla="*/ 2635 h 4525"/>
                <a:gd name="T60" fmla="*/ 2275 w 2950"/>
                <a:gd name="T61" fmla="*/ 2085 h 4525"/>
                <a:gd name="T62" fmla="*/ 2488 w 2950"/>
                <a:gd name="T63" fmla="*/ 1873 h 4525"/>
                <a:gd name="T64" fmla="*/ 2700 w 2950"/>
                <a:gd name="T65" fmla="*/ 2085 h 4525"/>
                <a:gd name="T66" fmla="*/ 2700 w 2950"/>
                <a:gd name="T67" fmla="*/ 4400 h 4525"/>
                <a:gd name="T68" fmla="*/ 2825 w 2950"/>
                <a:gd name="T69" fmla="*/ 4525 h 4525"/>
                <a:gd name="T70" fmla="*/ 2950 w 2950"/>
                <a:gd name="T71" fmla="*/ 4400 h 4525"/>
                <a:gd name="T72" fmla="*/ 2950 w 2950"/>
                <a:gd name="T73" fmla="*/ 2085 h 4525"/>
                <a:gd name="T74" fmla="*/ 2488 w 2950"/>
                <a:gd name="T75" fmla="*/ 1623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50" h="4525">
                  <a:moveTo>
                    <a:pt x="2488" y="1623"/>
                  </a:moveTo>
                  <a:cubicBezTo>
                    <a:pt x="2403" y="1623"/>
                    <a:pt x="2324" y="1646"/>
                    <a:pt x="2256" y="1685"/>
                  </a:cubicBezTo>
                  <a:cubicBezTo>
                    <a:pt x="2199" y="1494"/>
                    <a:pt x="2022" y="1354"/>
                    <a:pt x="1813" y="1354"/>
                  </a:cubicBezTo>
                  <a:cubicBezTo>
                    <a:pt x="1679" y="1354"/>
                    <a:pt x="1559" y="1411"/>
                    <a:pt x="1475" y="1501"/>
                  </a:cubicBezTo>
                  <a:cubicBezTo>
                    <a:pt x="1391" y="1411"/>
                    <a:pt x="1271" y="1354"/>
                    <a:pt x="1138" y="1354"/>
                  </a:cubicBezTo>
                  <a:cubicBezTo>
                    <a:pt x="1061" y="1354"/>
                    <a:pt x="989" y="1373"/>
                    <a:pt x="925" y="1406"/>
                  </a:cubicBezTo>
                  <a:lnTo>
                    <a:pt x="925" y="462"/>
                  </a:lnTo>
                  <a:cubicBezTo>
                    <a:pt x="925" y="207"/>
                    <a:pt x="718" y="0"/>
                    <a:pt x="463" y="0"/>
                  </a:cubicBezTo>
                  <a:cubicBezTo>
                    <a:pt x="208" y="0"/>
                    <a:pt x="0" y="207"/>
                    <a:pt x="0" y="462"/>
                  </a:cubicBezTo>
                  <a:lnTo>
                    <a:pt x="0" y="1201"/>
                  </a:lnTo>
                  <a:cubicBezTo>
                    <a:pt x="0" y="1270"/>
                    <a:pt x="56" y="1326"/>
                    <a:pt x="125" y="1326"/>
                  </a:cubicBezTo>
                  <a:cubicBezTo>
                    <a:pt x="194" y="1326"/>
                    <a:pt x="250" y="1270"/>
                    <a:pt x="250" y="1201"/>
                  </a:cubicBezTo>
                  <a:lnTo>
                    <a:pt x="250" y="462"/>
                  </a:lnTo>
                  <a:cubicBezTo>
                    <a:pt x="250" y="345"/>
                    <a:pt x="345" y="250"/>
                    <a:pt x="463" y="250"/>
                  </a:cubicBezTo>
                  <a:cubicBezTo>
                    <a:pt x="580" y="250"/>
                    <a:pt x="675" y="345"/>
                    <a:pt x="675" y="462"/>
                  </a:cubicBezTo>
                  <a:lnTo>
                    <a:pt x="675" y="2635"/>
                  </a:lnTo>
                  <a:cubicBezTo>
                    <a:pt x="675" y="2704"/>
                    <a:pt x="731" y="2760"/>
                    <a:pt x="800" y="2760"/>
                  </a:cubicBezTo>
                  <a:cubicBezTo>
                    <a:pt x="869" y="2760"/>
                    <a:pt x="925" y="2704"/>
                    <a:pt x="925" y="2635"/>
                  </a:cubicBezTo>
                  <a:lnTo>
                    <a:pt x="925" y="1817"/>
                  </a:lnTo>
                  <a:cubicBezTo>
                    <a:pt x="925" y="1700"/>
                    <a:pt x="1020" y="1604"/>
                    <a:pt x="1138" y="1604"/>
                  </a:cubicBezTo>
                  <a:cubicBezTo>
                    <a:pt x="1255" y="1604"/>
                    <a:pt x="1350" y="1700"/>
                    <a:pt x="1350" y="1817"/>
                  </a:cubicBezTo>
                  <a:lnTo>
                    <a:pt x="1350" y="2635"/>
                  </a:lnTo>
                  <a:cubicBezTo>
                    <a:pt x="1350" y="2704"/>
                    <a:pt x="1406" y="2760"/>
                    <a:pt x="1475" y="2760"/>
                  </a:cubicBezTo>
                  <a:cubicBezTo>
                    <a:pt x="1544" y="2760"/>
                    <a:pt x="1600" y="2704"/>
                    <a:pt x="1600" y="2635"/>
                  </a:cubicBezTo>
                  <a:lnTo>
                    <a:pt x="1600" y="1817"/>
                  </a:lnTo>
                  <a:cubicBezTo>
                    <a:pt x="1600" y="1700"/>
                    <a:pt x="1695" y="1604"/>
                    <a:pt x="1813" y="1604"/>
                  </a:cubicBezTo>
                  <a:cubicBezTo>
                    <a:pt x="1930" y="1604"/>
                    <a:pt x="2025" y="1700"/>
                    <a:pt x="2025" y="1817"/>
                  </a:cubicBezTo>
                  <a:lnTo>
                    <a:pt x="2025" y="2635"/>
                  </a:lnTo>
                  <a:cubicBezTo>
                    <a:pt x="2025" y="2704"/>
                    <a:pt x="2081" y="2760"/>
                    <a:pt x="2150" y="2760"/>
                  </a:cubicBezTo>
                  <a:cubicBezTo>
                    <a:pt x="2219" y="2760"/>
                    <a:pt x="2275" y="2704"/>
                    <a:pt x="2275" y="2635"/>
                  </a:cubicBezTo>
                  <a:lnTo>
                    <a:pt x="2275" y="2085"/>
                  </a:lnTo>
                  <a:cubicBezTo>
                    <a:pt x="2275" y="1968"/>
                    <a:pt x="2370" y="1873"/>
                    <a:pt x="2488" y="1873"/>
                  </a:cubicBezTo>
                  <a:cubicBezTo>
                    <a:pt x="2605" y="1873"/>
                    <a:pt x="2700" y="1968"/>
                    <a:pt x="2700" y="2085"/>
                  </a:cubicBezTo>
                  <a:lnTo>
                    <a:pt x="2700" y="4400"/>
                  </a:lnTo>
                  <a:cubicBezTo>
                    <a:pt x="2700" y="4469"/>
                    <a:pt x="2756" y="4525"/>
                    <a:pt x="2825" y="4525"/>
                  </a:cubicBezTo>
                  <a:cubicBezTo>
                    <a:pt x="2894" y="4525"/>
                    <a:pt x="2950" y="4469"/>
                    <a:pt x="2950" y="4400"/>
                  </a:cubicBezTo>
                  <a:lnTo>
                    <a:pt x="2950" y="2085"/>
                  </a:lnTo>
                  <a:cubicBezTo>
                    <a:pt x="2950" y="1830"/>
                    <a:pt x="2743" y="1623"/>
                    <a:pt x="2488" y="1623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50">
              <a:extLst>
                <a:ext uri="{FF2B5EF4-FFF2-40B4-BE49-F238E27FC236}">
                  <a16:creationId xmlns:a16="http://schemas.microsoft.com/office/drawing/2014/main" id="{FA5DB75E-4713-FD4E-948C-334A900BE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5963" y="4243388"/>
              <a:ext cx="173038" cy="328613"/>
            </a:xfrm>
            <a:custGeom>
              <a:avLst/>
              <a:gdLst>
                <a:gd name="T0" fmla="*/ 1250 w 1375"/>
                <a:gd name="T1" fmla="*/ 0 h 2623"/>
                <a:gd name="T2" fmla="*/ 1125 w 1375"/>
                <a:gd name="T3" fmla="*/ 125 h 2623"/>
                <a:gd name="T4" fmla="*/ 1125 w 1375"/>
                <a:gd name="T5" fmla="*/ 904 h 2623"/>
                <a:gd name="T6" fmla="*/ 950 w 1375"/>
                <a:gd name="T7" fmla="*/ 616 h 2623"/>
                <a:gd name="T8" fmla="*/ 301 w 1375"/>
                <a:gd name="T9" fmla="*/ 451 h 2623"/>
                <a:gd name="T10" fmla="*/ 109 w 1375"/>
                <a:gd name="T11" fmla="*/ 1075 h 2623"/>
                <a:gd name="T12" fmla="*/ 833 w 1375"/>
                <a:gd name="T13" fmla="*/ 2553 h 2623"/>
                <a:gd name="T14" fmla="*/ 945 w 1375"/>
                <a:gd name="T15" fmla="*/ 2623 h 2623"/>
                <a:gd name="T16" fmla="*/ 1000 w 1375"/>
                <a:gd name="T17" fmla="*/ 2610 h 2623"/>
                <a:gd name="T18" fmla="*/ 1057 w 1375"/>
                <a:gd name="T19" fmla="*/ 2443 h 2623"/>
                <a:gd name="T20" fmla="*/ 334 w 1375"/>
                <a:gd name="T21" fmla="*/ 965 h 2623"/>
                <a:gd name="T22" fmla="*/ 426 w 1375"/>
                <a:gd name="T23" fmla="*/ 667 h 2623"/>
                <a:gd name="T24" fmla="*/ 736 w 1375"/>
                <a:gd name="T25" fmla="*/ 746 h 2623"/>
                <a:gd name="T26" fmla="*/ 1143 w 1375"/>
                <a:gd name="T27" fmla="*/ 1415 h 2623"/>
                <a:gd name="T28" fmla="*/ 1284 w 1375"/>
                <a:gd name="T29" fmla="*/ 1470 h 2623"/>
                <a:gd name="T30" fmla="*/ 1375 w 1375"/>
                <a:gd name="T31" fmla="*/ 1350 h 2623"/>
                <a:gd name="T32" fmla="*/ 1375 w 1375"/>
                <a:gd name="T33" fmla="*/ 125 h 2623"/>
                <a:gd name="T34" fmla="*/ 1250 w 1375"/>
                <a:gd name="T35" fmla="*/ 0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75" h="2623">
                  <a:moveTo>
                    <a:pt x="1250" y="0"/>
                  </a:moveTo>
                  <a:cubicBezTo>
                    <a:pt x="1181" y="0"/>
                    <a:pt x="1125" y="55"/>
                    <a:pt x="1125" y="125"/>
                  </a:cubicBezTo>
                  <a:lnTo>
                    <a:pt x="1125" y="904"/>
                  </a:lnTo>
                  <a:lnTo>
                    <a:pt x="950" y="616"/>
                  </a:lnTo>
                  <a:cubicBezTo>
                    <a:pt x="813" y="392"/>
                    <a:pt x="528" y="319"/>
                    <a:pt x="301" y="451"/>
                  </a:cubicBezTo>
                  <a:cubicBezTo>
                    <a:pt x="84" y="575"/>
                    <a:pt x="0" y="849"/>
                    <a:pt x="109" y="1075"/>
                  </a:cubicBezTo>
                  <a:lnTo>
                    <a:pt x="833" y="2553"/>
                  </a:lnTo>
                  <a:cubicBezTo>
                    <a:pt x="854" y="2597"/>
                    <a:pt x="899" y="2623"/>
                    <a:pt x="945" y="2623"/>
                  </a:cubicBezTo>
                  <a:cubicBezTo>
                    <a:pt x="964" y="2623"/>
                    <a:pt x="982" y="2619"/>
                    <a:pt x="1000" y="2610"/>
                  </a:cubicBezTo>
                  <a:cubicBezTo>
                    <a:pt x="1062" y="2580"/>
                    <a:pt x="1088" y="2505"/>
                    <a:pt x="1057" y="2443"/>
                  </a:cubicBezTo>
                  <a:lnTo>
                    <a:pt x="334" y="965"/>
                  </a:lnTo>
                  <a:cubicBezTo>
                    <a:pt x="282" y="858"/>
                    <a:pt x="322" y="727"/>
                    <a:pt x="426" y="667"/>
                  </a:cubicBezTo>
                  <a:cubicBezTo>
                    <a:pt x="534" y="604"/>
                    <a:pt x="671" y="639"/>
                    <a:pt x="736" y="746"/>
                  </a:cubicBezTo>
                  <a:lnTo>
                    <a:pt x="1143" y="1415"/>
                  </a:lnTo>
                  <a:cubicBezTo>
                    <a:pt x="1172" y="1462"/>
                    <a:pt x="1230" y="1485"/>
                    <a:pt x="1284" y="1470"/>
                  </a:cubicBezTo>
                  <a:cubicBezTo>
                    <a:pt x="1338" y="1455"/>
                    <a:pt x="1375" y="1406"/>
                    <a:pt x="1375" y="1350"/>
                  </a:cubicBezTo>
                  <a:lnTo>
                    <a:pt x="1375" y="125"/>
                  </a:lnTo>
                  <a:cubicBezTo>
                    <a:pt x="1375" y="55"/>
                    <a:pt x="1319" y="0"/>
                    <a:pt x="1250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51">
              <a:extLst>
                <a:ext uri="{FF2B5EF4-FFF2-40B4-BE49-F238E27FC236}">
                  <a16:creationId xmlns:a16="http://schemas.microsoft.com/office/drawing/2014/main" id="{4C63585D-20A0-B249-866B-D0CA5021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250" y="4194175"/>
              <a:ext cx="31750" cy="31750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7 w 250"/>
                <a:gd name="T5" fmla="*/ 37 h 250"/>
                <a:gd name="T6" fmla="*/ 0 w 250"/>
                <a:gd name="T7" fmla="*/ 125 h 250"/>
                <a:gd name="T8" fmla="*/ 37 w 250"/>
                <a:gd name="T9" fmla="*/ 214 h 250"/>
                <a:gd name="T10" fmla="*/ 125 w 250"/>
                <a:gd name="T11" fmla="*/ 250 h 250"/>
                <a:gd name="T12" fmla="*/ 213 w 250"/>
                <a:gd name="T13" fmla="*/ 214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4"/>
                    <a:pt x="158" y="0"/>
                    <a:pt x="125" y="0"/>
                  </a:cubicBezTo>
                  <a:cubicBezTo>
                    <a:pt x="92" y="0"/>
                    <a:pt x="60" y="14"/>
                    <a:pt x="37" y="37"/>
                  </a:cubicBezTo>
                  <a:cubicBezTo>
                    <a:pt x="13" y="60"/>
                    <a:pt x="0" y="93"/>
                    <a:pt x="0" y="125"/>
                  </a:cubicBezTo>
                  <a:cubicBezTo>
                    <a:pt x="0" y="158"/>
                    <a:pt x="13" y="191"/>
                    <a:pt x="37" y="214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4"/>
                  </a:cubicBezTo>
                  <a:cubicBezTo>
                    <a:pt x="237" y="191"/>
                    <a:pt x="250" y="158"/>
                    <a:pt x="250" y="125"/>
                  </a:cubicBezTo>
                  <a:cubicBezTo>
                    <a:pt x="250" y="93"/>
                    <a:pt x="237" y="60"/>
                    <a:pt x="213" y="37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1" name="Picture 7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  <p:sp>
        <p:nvSpPr>
          <p:cNvPr id="70" name="Прямоугольник 34">
            <a:extLst>
              <a:ext uri="{FF2B5EF4-FFF2-40B4-BE49-F238E27FC236}">
                <a16:creationId xmlns:a16="http://schemas.microsoft.com/office/drawing/2014/main" id="{0C241C80-4D75-0841-8EA5-597595405E22}"/>
              </a:ext>
            </a:extLst>
          </p:cNvPr>
          <p:cNvSpPr/>
          <p:nvPr/>
        </p:nvSpPr>
        <p:spPr>
          <a:xfrm>
            <a:off x="776482" y="1598350"/>
            <a:ext cx="258523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Создание карты компетенций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72" name="Прямоугольник 34">
            <a:extLst>
              <a:ext uri="{FF2B5EF4-FFF2-40B4-BE49-F238E27FC236}">
                <a16:creationId xmlns:a16="http://schemas.microsoft.com/office/drawing/2014/main" id="{0C241C80-4D75-0841-8EA5-597595405E22}"/>
              </a:ext>
            </a:extLst>
          </p:cNvPr>
          <p:cNvSpPr/>
          <p:nvPr/>
        </p:nvSpPr>
        <p:spPr>
          <a:xfrm>
            <a:off x="9372329" y="3275239"/>
            <a:ext cx="242352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ередача знаний и опыта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85" name="Овал 37">
            <a:extLst>
              <a:ext uri="{FF2B5EF4-FFF2-40B4-BE49-F238E27FC236}">
                <a16:creationId xmlns:a16="http://schemas.microsoft.com/office/drawing/2014/main" id="{BC969871-4A1F-E845-8113-5BF726EE6435}"/>
              </a:ext>
            </a:extLst>
          </p:cNvPr>
          <p:cNvSpPr/>
          <p:nvPr/>
        </p:nvSpPr>
        <p:spPr>
          <a:xfrm>
            <a:off x="7703555" y="1564938"/>
            <a:ext cx="897821" cy="8978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Овал 37">
            <a:extLst>
              <a:ext uri="{FF2B5EF4-FFF2-40B4-BE49-F238E27FC236}">
                <a16:creationId xmlns:a16="http://schemas.microsoft.com/office/drawing/2014/main" id="{BC969871-4A1F-E845-8113-5BF726EE6435}"/>
              </a:ext>
            </a:extLst>
          </p:cNvPr>
          <p:cNvSpPr/>
          <p:nvPr/>
        </p:nvSpPr>
        <p:spPr>
          <a:xfrm>
            <a:off x="8384978" y="3241827"/>
            <a:ext cx="897821" cy="8978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7" name="Рисунок 12">
            <a:extLst>
              <a:ext uri="{FF2B5EF4-FFF2-40B4-BE49-F238E27FC236}">
                <a16:creationId xmlns:a16="http://schemas.microsoft.com/office/drawing/2014/main" id="{8D34579E-3461-3B47-AAEE-0EBC4DF6539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8537100" y="3478495"/>
            <a:ext cx="565979" cy="424485"/>
          </a:xfrm>
          <a:prstGeom prst="rect">
            <a:avLst/>
          </a:prstGeom>
        </p:spPr>
      </p:pic>
      <p:pic>
        <p:nvPicPr>
          <p:cNvPr id="88" name="Рисунок 82">
            <a:extLst>
              <a:ext uri="{FF2B5EF4-FFF2-40B4-BE49-F238E27FC236}">
                <a16:creationId xmlns:a16="http://schemas.microsoft.com/office/drawing/2014/main" id="{80E88E8F-8E58-0C45-B2AF-F2125573F4A2}"/>
              </a:ext>
            </a:extLst>
          </p:cNvPr>
          <p:cNvPicPr>
            <a:picLocks noChangeAspect="1"/>
          </p:cNvPicPr>
          <p:nvPr/>
        </p:nvPicPr>
        <p:blipFill rotWithShape="1">
          <a:blip r:embed="rId6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14722" t="11450" r="14825" b="16712"/>
          <a:stretch/>
        </p:blipFill>
        <p:spPr>
          <a:xfrm>
            <a:off x="7873819" y="1656515"/>
            <a:ext cx="552296" cy="563152"/>
          </a:xfrm>
          <a:prstGeom prst="rect">
            <a:avLst/>
          </a:prstGeom>
        </p:spPr>
      </p:pic>
      <p:sp>
        <p:nvSpPr>
          <p:cNvPr id="45" name="Рисунок 10">
            <a:extLst>
              <a:ext uri="{FF2B5EF4-FFF2-40B4-BE49-F238E27FC236}">
                <a16:creationId xmlns:a16="http://schemas.microsoft.com/office/drawing/2014/main" id="{1646A0AB-5A04-084A-B335-0A33DC929073}"/>
              </a:ext>
            </a:extLst>
          </p:cNvPr>
          <p:cNvSpPr>
            <a:spLocks noChangeAspect="1"/>
          </p:cNvSpPr>
          <p:nvPr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chemeClr val="bg1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3351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  <p:bldP spid="36" grpId="0"/>
      <p:bldP spid="3" grpId="0" animBg="1"/>
      <p:bldP spid="38" grpId="0" animBg="1"/>
      <p:bldP spid="39" grpId="0" animBg="1"/>
      <p:bldP spid="40" grpId="0" animBg="1"/>
      <p:bldP spid="41" grpId="0" animBg="1"/>
      <p:bldP spid="35" grpId="0"/>
      <p:bldP spid="37" grpId="0"/>
      <p:bldP spid="70" grpId="0"/>
      <p:bldP spid="72" grpId="0"/>
      <p:bldP spid="85" grpId="0" animBg="1"/>
      <p:bldP spid="8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Люди делятся на…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8" name="Picture 2" descr="https://www.meme-arsenal.com/memes/041d1f6d371541132c3e38084c2977b0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62" t="186" r="17725" b="4967"/>
          <a:stretch/>
        </p:blipFill>
        <p:spPr bwMode="auto">
          <a:xfrm>
            <a:off x="6355218" y="1371252"/>
            <a:ext cx="5222102" cy="4024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630019" y="1371252"/>
            <a:ext cx="4980638" cy="4024356"/>
            <a:chOff x="630019" y="1371252"/>
            <a:chExt cx="4980638" cy="4024356"/>
          </a:xfrm>
        </p:grpSpPr>
        <p:pic>
          <p:nvPicPr>
            <p:cNvPr id="7" name="Picture 2" descr="http://risovach.ru/upload/2014/02/mem/tvoe-vyrazhenie-lica_41856842_orig_.jpe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019" y="1371252"/>
              <a:ext cx="4980638" cy="40243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http://risovach.ru/upload/2014/02/mem/tvoe-vyrazhenie-lica_41856842_orig_.jpe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3933" t="90693" b="3379"/>
            <a:stretch/>
          </p:blipFill>
          <p:spPr bwMode="auto">
            <a:xfrm>
              <a:off x="4810409" y="5157068"/>
              <a:ext cx="800248" cy="2385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90289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F19FC714-0B7D-A644-B401-1BAA64C9F2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80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459282"/>
            <a:ext cx="12192000" cy="2398718"/>
          </a:xfrm>
          <a:prstGeom prst="rect">
            <a:avLst/>
          </a:prstGeom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1A372A0-095C-E343-9D0B-01E3678C8144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Зачем заниматься базой знаний</a:t>
            </a:r>
            <a:endParaRPr lang="ru-RU" dirty="0"/>
          </a:p>
        </p:txBody>
      </p:sp>
      <p:sp>
        <p:nvSpPr>
          <p:cNvPr id="27" name="Номер слайда 2">
            <a:extLst>
              <a:ext uri="{FF2B5EF4-FFF2-40B4-BE49-F238E27FC236}">
                <a16:creationId xmlns:a16="http://schemas.microsoft.com/office/drawing/2014/main" id="{D40C03B6-1A22-DA46-A921-DD6B576E827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873F048-D532-42BD-AB62-653627250667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10" name="Нашивка 9">
            <a:extLst>
              <a:ext uri="{FF2B5EF4-FFF2-40B4-BE49-F238E27FC236}">
                <a16:creationId xmlns:a16="http://schemas.microsoft.com/office/drawing/2014/main" id="{45D4024C-AA15-7348-B3D9-E448D94A55E6}"/>
              </a:ext>
            </a:extLst>
          </p:cNvPr>
          <p:cNvSpPr/>
          <p:nvPr/>
        </p:nvSpPr>
        <p:spPr>
          <a:xfrm rot="10800000">
            <a:off x="8351010" y="1400016"/>
            <a:ext cx="418568" cy="418568"/>
          </a:xfrm>
          <a:prstGeom prst="chevron">
            <a:avLst>
              <a:gd name="adj" fmla="val 39954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CB8A6E5-628D-1D41-8E9F-97D261EC580E}"/>
              </a:ext>
            </a:extLst>
          </p:cNvPr>
          <p:cNvSpPr/>
          <p:nvPr/>
        </p:nvSpPr>
        <p:spPr>
          <a:xfrm>
            <a:off x="7732679" y="1400016"/>
            <a:ext cx="794274" cy="4185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C51C5553-9FA0-1A45-A6DC-71BFBB7D9785}"/>
              </a:ext>
            </a:extLst>
          </p:cNvPr>
          <p:cNvGrpSpPr/>
          <p:nvPr/>
        </p:nvGrpSpPr>
        <p:grpSpPr>
          <a:xfrm>
            <a:off x="4274735" y="1400016"/>
            <a:ext cx="3442103" cy="4131665"/>
            <a:chOff x="4274735" y="2507721"/>
            <a:chExt cx="3442103" cy="3023960"/>
          </a:xfrm>
        </p:grpSpPr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E067289E-5350-044C-94DB-B13C0AC523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74735" y="2507721"/>
              <a:ext cx="0" cy="3023960"/>
            </a:xfrm>
            <a:prstGeom prst="line">
              <a:avLst/>
            </a:prstGeom>
            <a:ln>
              <a:headEnd type="oval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B5732859-4726-394B-BE68-69F7EEB9DE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16838" y="2507721"/>
              <a:ext cx="0" cy="3023960"/>
            </a:xfrm>
            <a:prstGeom prst="line">
              <a:avLst/>
            </a:prstGeom>
            <a:ln w="25400"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Заголовок 3">
            <a:extLst>
              <a:ext uri="{FF2B5EF4-FFF2-40B4-BE49-F238E27FC236}">
                <a16:creationId xmlns:a16="http://schemas.microsoft.com/office/drawing/2014/main" id="{77CF75EF-4556-ED44-8691-793B2CCD55B1}"/>
              </a:ext>
            </a:extLst>
          </p:cNvPr>
          <p:cNvSpPr txBox="1">
            <a:spLocks/>
          </p:cNvSpPr>
          <p:nvPr/>
        </p:nvSpPr>
        <p:spPr>
          <a:xfrm>
            <a:off x="7895893" y="2114261"/>
            <a:ext cx="3708732" cy="5539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chemeClr val="accent1"/>
                </a:solidFill>
              </a:rPr>
              <a:t>Есть актуальная БЗ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18" name="Заголовок 3">
            <a:extLst>
              <a:ext uri="{FF2B5EF4-FFF2-40B4-BE49-F238E27FC236}">
                <a16:creationId xmlns:a16="http://schemas.microsoft.com/office/drawing/2014/main" id="{CC9D64E2-30FC-214E-977B-80FB4039281D}"/>
              </a:ext>
            </a:extLst>
          </p:cNvPr>
          <p:cNvSpPr txBox="1">
            <a:spLocks/>
          </p:cNvSpPr>
          <p:nvPr/>
        </p:nvSpPr>
        <p:spPr>
          <a:xfrm>
            <a:off x="-96520" y="2114261"/>
            <a:ext cx="4295381" cy="5539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dirty="0" smtClean="0">
                <a:solidFill>
                  <a:schemeClr val="accent3"/>
                </a:solidFill>
              </a:rPr>
              <a:t>Нет БЗ/не актуальная</a:t>
            </a:r>
            <a:endParaRPr lang="ru-RU" dirty="0">
              <a:solidFill>
                <a:schemeClr val="accent3"/>
              </a:solidFill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E5E2BC07-515D-BA49-BFC8-C9ADEEEFD8D2}"/>
              </a:ext>
            </a:extLst>
          </p:cNvPr>
          <p:cNvGrpSpPr/>
          <p:nvPr/>
        </p:nvGrpSpPr>
        <p:grpSpPr>
          <a:xfrm flipH="1">
            <a:off x="3226061" y="1400016"/>
            <a:ext cx="1033724" cy="418569"/>
            <a:chOff x="1774826" y="1980150"/>
            <a:chExt cx="1033724" cy="418569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4AC05453-101C-F646-A3AC-4D5B1DF146A1}"/>
                </a:ext>
              </a:extLst>
            </p:cNvPr>
            <p:cNvSpPr/>
            <p:nvPr/>
          </p:nvSpPr>
          <p:spPr>
            <a:xfrm rot="10800000">
              <a:off x="2389982" y="1980150"/>
              <a:ext cx="418568" cy="418568"/>
            </a:xfrm>
            <a:prstGeom prst="chevron">
              <a:avLst>
                <a:gd name="adj" fmla="val 3995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8E569F68-688B-4E42-B4F1-0F0D2346077F}"/>
                </a:ext>
              </a:extLst>
            </p:cNvPr>
            <p:cNvSpPr/>
            <p:nvPr/>
          </p:nvSpPr>
          <p:spPr>
            <a:xfrm>
              <a:off x="1774826" y="1980150"/>
              <a:ext cx="794274" cy="41856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</p:grpSp>
      <p:sp>
        <p:nvSpPr>
          <p:cNvPr id="22" name="Заголовок 3">
            <a:extLst>
              <a:ext uri="{FF2B5EF4-FFF2-40B4-BE49-F238E27FC236}">
                <a16:creationId xmlns:a16="http://schemas.microsoft.com/office/drawing/2014/main" id="{9F3503F2-8531-544E-BFA9-0B189D38EECB}"/>
              </a:ext>
            </a:extLst>
          </p:cNvPr>
          <p:cNvSpPr txBox="1">
            <a:spLocks/>
          </p:cNvSpPr>
          <p:nvPr/>
        </p:nvSpPr>
        <p:spPr>
          <a:xfrm>
            <a:off x="7808061" y="1463815"/>
            <a:ext cx="1115244" cy="35476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schemeClr val="bg1"/>
                </a:solidFill>
                <a:sym typeface="Wingdings" panose="05000000000000000000" pitchFamily="2" charset="2"/>
              </a:rPr>
              <a:t>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23" name="Заголовок 3">
            <a:extLst>
              <a:ext uri="{FF2B5EF4-FFF2-40B4-BE49-F238E27FC236}">
                <a16:creationId xmlns:a16="http://schemas.microsoft.com/office/drawing/2014/main" id="{F5F8183C-2759-614E-AC31-053DADCB147D}"/>
              </a:ext>
            </a:extLst>
          </p:cNvPr>
          <p:cNvSpPr txBox="1">
            <a:spLocks/>
          </p:cNvSpPr>
          <p:nvPr/>
        </p:nvSpPr>
        <p:spPr>
          <a:xfrm>
            <a:off x="3412457" y="1463815"/>
            <a:ext cx="1079500" cy="4185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schemeClr val="bg1"/>
                </a:solidFill>
              </a:rPr>
              <a:t>:(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C0AA72-28C6-2A46-8BC7-0449666E4CC5}"/>
              </a:ext>
            </a:extLst>
          </p:cNvPr>
          <p:cNvSpPr/>
          <p:nvPr/>
        </p:nvSpPr>
        <p:spPr>
          <a:xfrm>
            <a:off x="7959543" y="2778291"/>
            <a:ext cx="381081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Быстрый и эффективный поиск</a:t>
            </a:r>
          </a:p>
          <a:p>
            <a:r>
              <a:rPr lang="ru-RU" dirty="0" smtClean="0"/>
              <a:t>Самостоятельное изучение</a:t>
            </a:r>
          </a:p>
          <a:p>
            <a:r>
              <a:rPr lang="ru-RU" dirty="0" smtClean="0"/>
              <a:t>Использование готовых решений</a:t>
            </a:r>
          </a:p>
          <a:p>
            <a:r>
              <a:rPr lang="ru-RU" dirty="0" smtClean="0"/>
              <a:t>Ценные знания всегда с нами</a:t>
            </a:r>
            <a:endParaRPr lang="ru-RU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1748AE80-46ED-2249-B567-A3F44A1FB632}"/>
              </a:ext>
            </a:extLst>
          </p:cNvPr>
          <p:cNvSpPr/>
          <p:nvPr/>
        </p:nvSpPr>
        <p:spPr>
          <a:xfrm>
            <a:off x="254000" y="2778291"/>
            <a:ext cx="39448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dirty="0" smtClean="0"/>
              <a:t>Время на поиск информации</a:t>
            </a:r>
          </a:p>
          <a:p>
            <a:pPr algn="r"/>
            <a:r>
              <a:rPr lang="ru-RU" dirty="0" smtClean="0"/>
              <a:t>Время на «пересказ» по 10 кругу</a:t>
            </a:r>
          </a:p>
          <a:p>
            <a:pPr algn="r"/>
            <a:r>
              <a:rPr lang="ru-RU" dirty="0" smtClean="0"/>
              <a:t>Время на изобретение велосипеда</a:t>
            </a:r>
          </a:p>
          <a:p>
            <a:pPr algn="r"/>
            <a:r>
              <a:rPr lang="ru-RU" dirty="0" smtClean="0"/>
              <a:t>Потеря знаний</a:t>
            </a:r>
            <a:endParaRPr lang="ru-RU" dirty="0"/>
          </a:p>
        </p:txBody>
      </p:sp>
      <p:sp>
        <p:nvSpPr>
          <p:cNvPr id="28" name="Рисунок 10">
            <a:extLst>
              <a:ext uri="{FF2B5EF4-FFF2-40B4-BE49-F238E27FC236}">
                <a16:creationId xmlns:a16="http://schemas.microsoft.com/office/drawing/2014/main" id="{257CD747-9DA1-0A4B-A893-B0FD80D84578}"/>
              </a:ext>
            </a:extLst>
          </p:cNvPr>
          <p:cNvSpPr>
            <a:spLocks noChangeAspect="1"/>
          </p:cNvSpPr>
          <p:nvPr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chemeClr val="bg1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cxnSp>
        <p:nvCxnSpPr>
          <p:cNvPr id="4" name="Straight Arrow Connector 3"/>
          <p:cNvCxnSpPr/>
          <p:nvPr/>
        </p:nvCxnSpPr>
        <p:spPr>
          <a:xfrm flipV="1">
            <a:off x="4491955" y="2999589"/>
            <a:ext cx="2980723" cy="1016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V="1">
            <a:off x="4491956" y="3271520"/>
            <a:ext cx="2980723" cy="1016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491956" y="3548531"/>
            <a:ext cx="2980723" cy="1016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 flipV="1">
            <a:off x="4491955" y="3825542"/>
            <a:ext cx="2980723" cy="1016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0101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80E79D2F-9E0C-8E4C-861B-A65778E5E8CA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00A4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974AA4CE-DB27-B14E-8C14-51E9058EFEA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732083"/>
            <a:ext cx="7576472" cy="2125917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45AB01B6-145A-CD42-A807-3437EC70009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8765" y="-21834"/>
            <a:ext cx="3383235" cy="4963068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8DF85D49-95E3-3B49-AB55-ACBA2AF59BEB}"/>
              </a:ext>
            </a:extLst>
          </p:cNvPr>
          <p:cNvGrpSpPr/>
          <p:nvPr/>
        </p:nvGrpSpPr>
        <p:grpSpPr>
          <a:xfrm>
            <a:off x="470853" y="1227833"/>
            <a:ext cx="4533701" cy="4533701"/>
            <a:chOff x="3602465" y="1108814"/>
            <a:chExt cx="4987071" cy="4987071"/>
          </a:xfrm>
        </p:grpSpPr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84900311-C9CE-E545-B87F-9F942C075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02465" y="1108814"/>
              <a:ext cx="4987071" cy="4987071"/>
            </a:xfrm>
            <a:prstGeom prst="rect">
              <a:avLst/>
            </a:prstGeom>
          </p:spPr>
        </p:pic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5562012C-3F32-E044-A51C-E695084DB1D6}"/>
                </a:ext>
              </a:extLst>
            </p:cNvPr>
            <p:cNvSpPr/>
            <p:nvPr/>
          </p:nvSpPr>
          <p:spPr>
            <a:xfrm>
              <a:off x="4153579" y="2108989"/>
              <a:ext cx="1350761" cy="3724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rgbClr val="48474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руктура</a:t>
              </a:r>
              <a:endParaRPr lang="ru-RU" sz="1600" b="1" dirty="0">
                <a:solidFill>
                  <a:srgbClr val="48474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9FCD3FFE-35D4-4640-9BEC-DF66230DBDB3}"/>
                </a:ext>
              </a:extLst>
            </p:cNvPr>
            <p:cNvSpPr/>
            <p:nvPr/>
          </p:nvSpPr>
          <p:spPr>
            <a:xfrm>
              <a:off x="6751417" y="5293647"/>
              <a:ext cx="1276631" cy="3724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троль</a:t>
              </a:r>
              <a:endParaRPr lang="ru-RU" sz="16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BF7C4E6C-8AC3-5345-B022-20FD0051590A}"/>
                </a:ext>
              </a:extLst>
            </p:cNvPr>
            <p:cNvSpPr/>
            <p:nvPr/>
          </p:nvSpPr>
          <p:spPr>
            <a:xfrm>
              <a:off x="4286688" y="5293647"/>
              <a:ext cx="1152353" cy="3724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цесс</a:t>
              </a:r>
              <a:endParaRPr lang="ru-RU" sz="16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B24A8C2E-9672-EC43-B5D1-18A81C8C6A1E}"/>
                </a:ext>
              </a:extLst>
            </p:cNvPr>
            <p:cNvSpPr/>
            <p:nvPr/>
          </p:nvSpPr>
          <p:spPr>
            <a:xfrm>
              <a:off x="6566720" y="2108989"/>
              <a:ext cx="1781642" cy="3724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</a:t>
              </a:r>
              <a:r>
                <a:rPr lang="ru-RU" sz="1600" b="1" dirty="0" smtClean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держание</a:t>
              </a:r>
              <a:endParaRPr lang="ru-RU" sz="16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5D64CF66-4D5F-3448-A0FE-F6B2C6B20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7103983" y="4456955"/>
              <a:ext cx="571499" cy="736600"/>
            </a:xfrm>
            <a:prstGeom prst="rect">
              <a:avLst/>
            </a:prstGeom>
          </p:spPr>
        </p:pic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E0EEA068-F738-6C45-8520-AE94B5E0132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4464210" y="4425845"/>
              <a:ext cx="706882" cy="706882"/>
            </a:xfrm>
            <a:prstGeom prst="rect">
              <a:avLst/>
            </a:prstGeom>
          </p:spPr>
        </p:pic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C9D82753-D2D3-C946-A9E8-9B84984C6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4502961" y="1367706"/>
              <a:ext cx="719806" cy="622910"/>
            </a:xfrm>
            <a:prstGeom prst="rect">
              <a:avLst/>
            </a:prstGeom>
          </p:spPr>
        </p:pic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607A15CF-935C-0549-AAF0-45F496483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7123279" y="1381260"/>
              <a:ext cx="600711" cy="642620"/>
            </a:xfrm>
            <a:prstGeom prst="rect">
              <a:avLst/>
            </a:prstGeom>
          </p:spPr>
        </p:pic>
      </p:grp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892A9299-7399-AB46-BD76-5864204F8951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База знаний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8" name="Номер слайда 2">
            <a:extLst>
              <a:ext uri="{FF2B5EF4-FFF2-40B4-BE49-F238E27FC236}">
                <a16:creationId xmlns:a16="http://schemas.microsoft.com/office/drawing/2014/main" id="{A7FE3879-200A-1A43-BDF2-7455DC2BB3D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873F048-D532-42BD-AB62-653627250667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19" name="Рисунок 10">
            <a:extLst>
              <a:ext uri="{FF2B5EF4-FFF2-40B4-BE49-F238E27FC236}">
                <a16:creationId xmlns:a16="http://schemas.microsoft.com/office/drawing/2014/main" id="{A1810110-44A1-FC49-B0A0-CDD642933C79}"/>
              </a:ext>
            </a:extLst>
          </p:cNvPr>
          <p:cNvSpPr>
            <a:spLocks noChangeAspect="1"/>
          </p:cNvSpPr>
          <p:nvPr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chemeClr val="bg1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  <p:sp>
        <p:nvSpPr>
          <p:cNvPr id="21" name="Text Placeholder 3"/>
          <p:cNvSpPr txBox="1">
            <a:spLocks/>
          </p:cNvSpPr>
          <p:nvPr/>
        </p:nvSpPr>
        <p:spPr>
          <a:xfrm>
            <a:off x="5544381" y="1534556"/>
            <a:ext cx="7036370" cy="5251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2400" dirty="0" smtClean="0">
                <a:solidFill>
                  <a:schemeClr val="bg1"/>
                </a:solidFill>
                <a:latin typeface="+mj-lt"/>
              </a:rPr>
              <a:t>Определение ключевой информации</a:t>
            </a:r>
          </a:p>
        </p:txBody>
      </p:sp>
      <p:cxnSp>
        <p:nvCxnSpPr>
          <p:cNvPr id="22" name="Прямая соединительная линия 9">
            <a:extLst>
              <a:ext uri="{FF2B5EF4-FFF2-40B4-BE49-F238E27FC236}">
                <a16:creationId xmlns:a16="http://schemas.microsoft.com/office/drawing/2014/main" id="{235D6012-2DAD-7B4A-AE93-05AC74161AED}"/>
              </a:ext>
            </a:extLst>
          </p:cNvPr>
          <p:cNvCxnSpPr>
            <a:cxnSpLocks/>
            <a:stCxn id="23" idx="2"/>
            <a:endCxn id="30" idx="0"/>
          </p:cNvCxnSpPr>
          <p:nvPr/>
        </p:nvCxnSpPr>
        <p:spPr>
          <a:xfrm>
            <a:off x="5378069" y="1896079"/>
            <a:ext cx="0" cy="2123650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16">
            <a:extLst>
              <a:ext uri="{FF2B5EF4-FFF2-40B4-BE49-F238E27FC236}">
                <a16:creationId xmlns:a16="http://schemas.microsoft.com/office/drawing/2014/main" id="{3C7166B7-9EAD-1848-A99F-CA1A10203ED9}"/>
              </a:ext>
            </a:extLst>
          </p:cNvPr>
          <p:cNvPicPr>
            <a:picLocks noChangeAspect="1"/>
          </p:cNvPicPr>
          <p:nvPr/>
        </p:nvPicPr>
        <p:blipFill>
          <a:blip r:embed="rId15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251291" y="1642523"/>
            <a:ext cx="253556" cy="253556"/>
          </a:xfrm>
          <a:prstGeom prst="rect">
            <a:avLst/>
          </a:prstGeom>
        </p:spPr>
      </p:pic>
      <p:pic>
        <p:nvPicPr>
          <p:cNvPr id="24" name="Рисунок 17">
            <a:extLst>
              <a:ext uri="{FF2B5EF4-FFF2-40B4-BE49-F238E27FC236}">
                <a16:creationId xmlns:a16="http://schemas.microsoft.com/office/drawing/2014/main" id="{D6BF1FE6-767A-1E4C-A14A-ED0442A62AD6}"/>
              </a:ext>
            </a:extLst>
          </p:cNvPr>
          <p:cNvPicPr>
            <a:picLocks noChangeAspect="1"/>
          </p:cNvPicPr>
          <p:nvPr/>
        </p:nvPicPr>
        <p:blipFill>
          <a:blip r:embed="rId15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251291" y="2236825"/>
            <a:ext cx="253556" cy="253556"/>
          </a:xfrm>
          <a:prstGeom prst="rect">
            <a:avLst/>
          </a:prstGeom>
        </p:spPr>
      </p:pic>
      <p:pic>
        <p:nvPicPr>
          <p:cNvPr id="25" name="Рисунок 18">
            <a:extLst>
              <a:ext uri="{FF2B5EF4-FFF2-40B4-BE49-F238E27FC236}">
                <a16:creationId xmlns:a16="http://schemas.microsoft.com/office/drawing/2014/main" id="{EA2B2910-69AE-154D-B442-F6D09744A683}"/>
              </a:ext>
            </a:extLst>
          </p:cNvPr>
          <p:cNvPicPr>
            <a:picLocks noChangeAspect="1"/>
          </p:cNvPicPr>
          <p:nvPr/>
        </p:nvPicPr>
        <p:blipFill>
          <a:blip r:embed="rId15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251291" y="2831127"/>
            <a:ext cx="253556" cy="253556"/>
          </a:xfrm>
          <a:prstGeom prst="rect">
            <a:avLst/>
          </a:prstGeom>
        </p:spPr>
      </p:pic>
      <p:pic>
        <p:nvPicPr>
          <p:cNvPr id="30" name="Рисунок 18">
            <a:extLst>
              <a:ext uri="{FF2B5EF4-FFF2-40B4-BE49-F238E27FC236}">
                <a16:creationId xmlns:a16="http://schemas.microsoft.com/office/drawing/2014/main" id="{EA2B2910-69AE-154D-B442-F6D09744A683}"/>
              </a:ext>
            </a:extLst>
          </p:cNvPr>
          <p:cNvPicPr>
            <a:picLocks noChangeAspect="1"/>
          </p:cNvPicPr>
          <p:nvPr/>
        </p:nvPicPr>
        <p:blipFill>
          <a:blip r:embed="rId15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251291" y="4019729"/>
            <a:ext cx="253556" cy="253556"/>
          </a:xfrm>
          <a:prstGeom prst="rect">
            <a:avLst/>
          </a:prstGeom>
        </p:spPr>
      </p:pic>
      <p:pic>
        <p:nvPicPr>
          <p:cNvPr id="39" name="Рисунок 18">
            <a:extLst>
              <a:ext uri="{FF2B5EF4-FFF2-40B4-BE49-F238E27FC236}">
                <a16:creationId xmlns:a16="http://schemas.microsoft.com/office/drawing/2014/main" id="{EA2B2910-69AE-154D-B442-F6D09744A683}"/>
              </a:ext>
            </a:extLst>
          </p:cNvPr>
          <p:cNvPicPr>
            <a:picLocks noChangeAspect="1"/>
          </p:cNvPicPr>
          <p:nvPr/>
        </p:nvPicPr>
        <p:blipFill>
          <a:blip r:embed="rId15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251291" y="3425429"/>
            <a:ext cx="253556" cy="253556"/>
          </a:xfrm>
          <a:prstGeom prst="rect">
            <a:avLst/>
          </a:prstGeom>
        </p:spPr>
      </p:pic>
      <p:sp>
        <p:nvSpPr>
          <p:cNvPr id="40" name="Text Placeholder 3"/>
          <p:cNvSpPr txBox="1">
            <a:spLocks/>
          </p:cNvSpPr>
          <p:nvPr/>
        </p:nvSpPr>
        <p:spPr>
          <a:xfrm>
            <a:off x="5323666" y="4690040"/>
            <a:ext cx="7036370" cy="132073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2400" b="1" dirty="0" smtClean="0">
                <a:solidFill>
                  <a:schemeClr val="bg1"/>
                </a:solidFill>
                <a:latin typeface="+mj-lt"/>
              </a:rPr>
              <a:t>«Пришло в голову – запиши»</a:t>
            </a:r>
          </a:p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2400" b="1" dirty="0" smtClean="0">
                <a:solidFill>
                  <a:schemeClr val="bg1"/>
                </a:solidFill>
                <a:latin typeface="+mj-lt"/>
              </a:rPr>
              <a:t>«Что-то изменилось – актуализируй»</a:t>
            </a:r>
          </a:p>
        </p:txBody>
      </p:sp>
      <p:sp>
        <p:nvSpPr>
          <p:cNvPr id="41" name="Text Placeholder 3"/>
          <p:cNvSpPr txBox="1">
            <a:spLocks/>
          </p:cNvSpPr>
          <p:nvPr/>
        </p:nvSpPr>
        <p:spPr>
          <a:xfrm>
            <a:off x="5544381" y="2127022"/>
            <a:ext cx="7036370" cy="5251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2400" dirty="0">
                <a:solidFill>
                  <a:schemeClr val="bg1"/>
                </a:solidFill>
              </a:rPr>
              <a:t>Разработка и поддержание структуры </a:t>
            </a:r>
          </a:p>
        </p:txBody>
      </p:sp>
      <p:sp>
        <p:nvSpPr>
          <p:cNvPr id="42" name="Text Placeholder 3"/>
          <p:cNvSpPr txBox="1">
            <a:spLocks/>
          </p:cNvSpPr>
          <p:nvPr/>
        </p:nvSpPr>
        <p:spPr>
          <a:xfrm>
            <a:off x="5544381" y="2719488"/>
            <a:ext cx="7036370" cy="5251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2400" dirty="0">
                <a:solidFill>
                  <a:schemeClr val="bg1"/>
                </a:solidFill>
              </a:rPr>
              <a:t>Назначение ответственных</a:t>
            </a: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5544381" y="3311954"/>
            <a:ext cx="7036370" cy="5251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2400" dirty="0">
                <a:solidFill>
                  <a:schemeClr val="bg1"/>
                </a:solidFill>
              </a:rPr>
              <a:t>Наполнение страниц</a:t>
            </a:r>
          </a:p>
        </p:txBody>
      </p:sp>
      <p:sp>
        <p:nvSpPr>
          <p:cNvPr id="44" name="Text Placeholder 3"/>
          <p:cNvSpPr txBox="1">
            <a:spLocks/>
          </p:cNvSpPr>
          <p:nvPr/>
        </p:nvSpPr>
        <p:spPr>
          <a:xfrm>
            <a:off x="5544381" y="3904421"/>
            <a:ext cx="7036370" cy="5251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2400" dirty="0">
                <a:solidFill>
                  <a:schemeClr val="bg1"/>
                </a:solidFill>
              </a:rPr>
              <a:t>Мотивация наполнения страниц</a:t>
            </a:r>
            <a:endParaRPr lang="ru-RU" sz="2400" dirty="0" smtClean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8789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40" grpId="0"/>
      <p:bldP spid="41" grpId="0"/>
      <p:bldP spid="42" grpId="0"/>
      <p:bldP spid="43" grpId="0"/>
      <p:bldP spid="4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779BEEB-CDBB-8F40-BBD3-C294AA0E723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7725" y="1217390"/>
            <a:ext cx="6482012" cy="641179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A21BCD-7086-874D-A39E-ADF6FDA3E9D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242658">
            <a:off x="7436793" y="-480943"/>
            <a:ext cx="6710131" cy="4976764"/>
          </a:xfrm>
          <a:prstGeom prst="rect">
            <a:avLst/>
          </a:prstGeom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54B1800C-343D-2B44-8218-E3A90021A4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934630" y="5336763"/>
            <a:ext cx="3671887" cy="895117"/>
          </a:xfrm>
        </p:spPr>
        <p:txBody>
          <a:bodyPr/>
          <a:lstStyle/>
          <a:p>
            <a:r>
              <a:rPr lang="ru-RU" sz="1800" dirty="0" smtClean="0"/>
              <a:t>Аудитория опроса: </a:t>
            </a:r>
            <a:r>
              <a:rPr lang="ru-RU" sz="1800" dirty="0"/>
              <a:t>департамент бизнес-приложений КРОК</a:t>
            </a:r>
          </a:p>
          <a:p>
            <a:r>
              <a:rPr lang="ru-RU" sz="1800" dirty="0"/>
              <a:t>Всего ответов </a:t>
            </a:r>
            <a:r>
              <a:rPr lang="ru-RU" sz="1800" dirty="0">
                <a:sym typeface="Symbol" panose="05050102010706020507" pitchFamily="18" charset="2"/>
              </a:rPr>
              <a:t> 50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D4B7BFA-4EAD-C04D-B5B9-69104C49A0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28814" y="3038292"/>
            <a:ext cx="5342414" cy="2769989"/>
          </a:xfrm>
        </p:spPr>
        <p:txBody>
          <a:bodyPr/>
          <a:lstStyle/>
          <a:p>
            <a:r>
              <a:rPr lang="ru-RU" dirty="0" smtClean="0"/>
              <a:t>Задачи и качества, которые выделяют </a:t>
            </a:r>
            <a:r>
              <a:rPr lang="ru-RU" dirty="0"/>
              <a:t>ведущего аналитика и </a:t>
            </a:r>
            <a:r>
              <a:rPr lang="ru-RU" dirty="0" smtClean="0"/>
              <a:t>делают </a:t>
            </a:r>
            <a:r>
              <a:rPr lang="ru-RU" dirty="0"/>
              <a:t>его </a:t>
            </a:r>
            <a:r>
              <a:rPr lang="ru-RU" dirty="0" smtClean="0"/>
              <a:t>востребованным?</a:t>
            </a:r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1A372A0-095C-E343-9D0B-01E3678C8144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Немного интересной статистики</a:t>
            </a:r>
            <a:endParaRPr lang="ru-RU" dirty="0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054AEA2-5C56-1647-8C38-E672AE32CFF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873F048-D532-42BD-AB62-653627250667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7630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86001" y="474130"/>
            <a:ext cx="10566837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Ранг </a:t>
            </a:r>
            <a:r>
              <a:rPr lang="ru-RU" dirty="0" err="1"/>
              <a:t>hard-skills</a:t>
            </a:r>
            <a:r>
              <a:rPr lang="ru-RU" dirty="0"/>
              <a:t> задач ведущего аналитика</a:t>
            </a:r>
          </a:p>
        </p:txBody>
      </p:sp>
      <p:sp>
        <p:nvSpPr>
          <p:cNvPr id="2" name="Rectangle 1"/>
          <p:cNvSpPr/>
          <p:nvPr/>
        </p:nvSpPr>
        <p:spPr>
          <a:xfrm>
            <a:off x="4365176" y="1397003"/>
            <a:ext cx="541597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1,3</a:t>
            </a:r>
            <a:endParaRPr lang="ru-RU" b="1" dirty="0"/>
          </a:p>
        </p:txBody>
      </p:sp>
      <p:sp>
        <p:nvSpPr>
          <p:cNvPr id="8" name="Rectangle 7"/>
          <p:cNvSpPr/>
          <p:nvPr/>
        </p:nvSpPr>
        <p:spPr>
          <a:xfrm>
            <a:off x="4365176" y="1773438"/>
            <a:ext cx="740224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4,5</a:t>
            </a:r>
            <a:endParaRPr lang="ru-RU" b="1" dirty="0"/>
          </a:p>
        </p:txBody>
      </p:sp>
      <p:sp>
        <p:nvSpPr>
          <p:cNvPr id="9" name="Rectangle 8"/>
          <p:cNvSpPr/>
          <p:nvPr/>
        </p:nvSpPr>
        <p:spPr>
          <a:xfrm>
            <a:off x="206830" y="1397003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Работа с требованиями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06829" y="1774374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Обеспечение </a:t>
            </a:r>
            <a:r>
              <a:rPr lang="ru-RU" sz="1600" dirty="0" err="1" smtClean="0">
                <a:solidFill>
                  <a:srgbClr val="000000"/>
                </a:solidFill>
              </a:rPr>
              <a:t>функц</a:t>
            </a:r>
            <a:r>
              <a:rPr lang="ru-RU" sz="1600" dirty="0" smtClean="0">
                <a:solidFill>
                  <a:srgbClr val="000000"/>
                </a:solidFill>
              </a:rPr>
              <a:t>. целостности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06829" y="2151745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Проектирование </a:t>
            </a:r>
            <a:r>
              <a:rPr lang="ru-RU" sz="1600" dirty="0" err="1" smtClean="0">
                <a:solidFill>
                  <a:srgbClr val="000000"/>
                </a:solidFill>
              </a:rPr>
              <a:t>функц</a:t>
            </a:r>
            <a:r>
              <a:rPr lang="ru-RU" sz="1600" dirty="0" smtClean="0">
                <a:solidFill>
                  <a:srgbClr val="000000"/>
                </a:solidFill>
              </a:rPr>
              <a:t>. архитектуры</a:t>
            </a:r>
            <a:endParaRPr lang="ru-RU" sz="1600" dirty="0">
              <a:solidFill>
                <a:srgbClr val="000000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6092772" y="997857"/>
            <a:ext cx="11426" cy="5083629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65176" y="2149873"/>
            <a:ext cx="834970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5</a:t>
            </a:r>
            <a:endParaRPr lang="ru-RU" b="1" dirty="0"/>
          </a:p>
        </p:txBody>
      </p:sp>
      <p:sp>
        <p:nvSpPr>
          <p:cNvPr id="22" name="Rectangle 21"/>
          <p:cNvSpPr/>
          <p:nvPr/>
        </p:nvSpPr>
        <p:spPr>
          <a:xfrm>
            <a:off x="4365175" y="2526308"/>
            <a:ext cx="838195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5</a:t>
            </a:r>
            <a:endParaRPr lang="ru-RU" b="1" dirty="0"/>
          </a:p>
        </p:txBody>
      </p:sp>
      <p:sp>
        <p:nvSpPr>
          <p:cNvPr id="23" name="Rectangle 22"/>
          <p:cNvSpPr/>
          <p:nvPr/>
        </p:nvSpPr>
        <p:spPr>
          <a:xfrm>
            <a:off x="4365176" y="2902743"/>
            <a:ext cx="899881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7</a:t>
            </a:r>
            <a:endParaRPr lang="ru-RU" b="1" dirty="0"/>
          </a:p>
        </p:txBody>
      </p:sp>
      <p:sp>
        <p:nvSpPr>
          <p:cNvPr id="24" name="Rectangle 23"/>
          <p:cNvSpPr/>
          <p:nvPr/>
        </p:nvSpPr>
        <p:spPr>
          <a:xfrm>
            <a:off x="4365176" y="3279178"/>
            <a:ext cx="1023250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4</a:t>
            </a:r>
            <a:endParaRPr lang="ru-RU" b="1" dirty="0"/>
          </a:p>
        </p:txBody>
      </p:sp>
      <p:sp>
        <p:nvSpPr>
          <p:cNvPr id="25" name="Rectangle 24"/>
          <p:cNvSpPr/>
          <p:nvPr/>
        </p:nvSpPr>
        <p:spPr>
          <a:xfrm>
            <a:off x="4365176" y="3655613"/>
            <a:ext cx="1157510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7,3</a:t>
            </a:r>
            <a:endParaRPr lang="ru-RU" b="1" dirty="0"/>
          </a:p>
        </p:txBody>
      </p:sp>
      <p:sp>
        <p:nvSpPr>
          <p:cNvPr id="26" name="Rectangle 25"/>
          <p:cNvSpPr/>
          <p:nvPr/>
        </p:nvSpPr>
        <p:spPr>
          <a:xfrm>
            <a:off x="4365175" y="4032048"/>
            <a:ext cx="1226453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7,5</a:t>
            </a:r>
            <a:endParaRPr lang="ru-RU" b="1" dirty="0"/>
          </a:p>
        </p:txBody>
      </p:sp>
      <p:sp>
        <p:nvSpPr>
          <p:cNvPr id="27" name="Rectangle 26"/>
          <p:cNvSpPr/>
          <p:nvPr/>
        </p:nvSpPr>
        <p:spPr>
          <a:xfrm>
            <a:off x="4365176" y="4408483"/>
            <a:ext cx="1291767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7,7</a:t>
            </a:r>
            <a:endParaRPr lang="ru-RU" b="1" dirty="0"/>
          </a:p>
        </p:txBody>
      </p:sp>
      <p:sp>
        <p:nvSpPr>
          <p:cNvPr id="28" name="Rectangle 27"/>
          <p:cNvSpPr/>
          <p:nvPr/>
        </p:nvSpPr>
        <p:spPr>
          <a:xfrm>
            <a:off x="4365176" y="4784918"/>
            <a:ext cx="1291767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7,7</a:t>
            </a:r>
            <a:endParaRPr lang="ru-RU" b="1" dirty="0"/>
          </a:p>
        </p:txBody>
      </p:sp>
      <p:sp>
        <p:nvSpPr>
          <p:cNvPr id="29" name="Rectangle 28"/>
          <p:cNvSpPr/>
          <p:nvPr/>
        </p:nvSpPr>
        <p:spPr>
          <a:xfrm>
            <a:off x="4365176" y="5161353"/>
            <a:ext cx="1462306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8,6</a:t>
            </a:r>
            <a:endParaRPr lang="ru-RU" b="1" dirty="0"/>
          </a:p>
        </p:txBody>
      </p:sp>
      <p:sp>
        <p:nvSpPr>
          <p:cNvPr id="30" name="Rectangle 29"/>
          <p:cNvSpPr/>
          <p:nvPr/>
        </p:nvSpPr>
        <p:spPr>
          <a:xfrm>
            <a:off x="4365176" y="5537786"/>
            <a:ext cx="1590936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10,3</a:t>
            </a:r>
            <a:endParaRPr lang="ru-RU" b="1" dirty="0"/>
          </a:p>
        </p:txBody>
      </p:sp>
      <p:sp>
        <p:nvSpPr>
          <p:cNvPr id="31" name="Rectangle 30"/>
          <p:cNvSpPr/>
          <p:nvPr/>
        </p:nvSpPr>
        <p:spPr>
          <a:xfrm>
            <a:off x="206830" y="2529116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Разработка документации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06829" y="2906487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Обработка обращений заказчика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06829" y="3283858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Обеспечение качества решения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01138" y="3661229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Постановка задач команде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01137" y="4038600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Работа с рисками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01137" y="4415971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Участие в создании БЗ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01138" y="4793342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Оценка трудоемкости задач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01137" y="5170713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Настройка решения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01137" y="5537785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Выстраивание процесса поставок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201137" y="992013"/>
            <a:ext cx="5836806" cy="27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00A460"/>
                </a:solidFill>
              </a:rPr>
              <a:t>Менеджеры</a:t>
            </a:r>
            <a:endParaRPr lang="ru-RU" sz="1600" b="1" dirty="0">
              <a:solidFill>
                <a:srgbClr val="00A460"/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0422345" y="1397003"/>
            <a:ext cx="541597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3,4</a:t>
            </a:r>
            <a:endParaRPr lang="ru-RU" b="1" dirty="0"/>
          </a:p>
        </p:txBody>
      </p:sp>
      <p:sp>
        <p:nvSpPr>
          <p:cNvPr id="72" name="Rectangle 71"/>
          <p:cNvSpPr/>
          <p:nvPr/>
        </p:nvSpPr>
        <p:spPr>
          <a:xfrm>
            <a:off x="10422345" y="1773438"/>
            <a:ext cx="608512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3,6</a:t>
            </a:r>
            <a:endParaRPr lang="ru-RU" b="1" dirty="0"/>
          </a:p>
        </p:txBody>
      </p:sp>
      <p:sp>
        <p:nvSpPr>
          <p:cNvPr id="73" name="Rectangle 72"/>
          <p:cNvSpPr/>
          <p:nvPr/>
        </p:nvSpPr>
        <p:spPr>
          <a:xfrm>
            <a:off x="6263999" y="1397003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Обеспечение </a:t>
            </a:r>
            <a:r>
              <a:rPr lang="ru-RU" sz="1600" dirty="0" err="1">
                <a:solidFill>
                  <a:srgbClr val="000000"/>
                </a:solidFill>
              </a:rPr>
              <a:t>функц</a:t>
            </a:r>
            <a:r>
              <a:rPr lang="ru-RU" sz="1600" dirty="0">
                <a:solidFill>
                  <a:srgbClr val="000000"/>
                </a:solidFill>
              </a:rPr>
              <a:t>. </a:t>
            </a:r>
            <a:r>
              <a:rPr lang="ru-RU" sz="1600" dirty="0" smtClean="0">
                <a:solidFill>
                  <a:srgbClr val="000000"/>
                </a:solidFill>
              </a:rPr>
              <a:t>целостности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6263998" y="1774374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Работа с требованиями</a:t>
            </a:r>
          </a:p>
        </p:txBody>
      </p:sp>
      <p:sp>
        <p:nvSpPr>
          <p:cNvPr id="75" name="Rectangle 74"/>
          <p:cNvSpPr/>
          <p:nvPr/>
        </p:nvSpPr>
        <p:spPr>
          <a:xfrm>
            <a:off x="6263998" y="2151745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Проектирование </a:t>
            </a:r>
            <a:r>
              <a:rPr lang="ru-RU" sz="1600" dirty="0" err="1" smtClean="0">
                <a:solidFill>
                  <a:srgbClr val="000000"/>
                </a:solidFill>
              </a:rPr>
              <a:t>функц</a:t>
            </a:r>
            <a:r>
              <a:rPr lang="ru-RU" sz="1600" dirty="0" smtClean="0">
                <a:solidFill>
                  <a:srgbClr val="000000"/>
                </a:solidFill>
              </a:rPr>
              <a:t>. архитектуры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0422344" y="2149873"/>
            <a:ext cx="691969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4,0</a:t>
            </a:r>
            <a:endParaRPr lang="ru-RU" b="1" dirty="0"/>
          </a:p>
        </p:txBody>
      </p:sp>
      <p:sp>
        <p:nvSpPr>
          <p:cNvPr id="77" name="Rectangle 76"/>
          <p:cNvSpPr/>
          <p:nvPr/>
        </p:nvSpPr>
        <p:spPr>
          <a:xfrm>
            <a:off x="10422344" y="2526308"/>
            <a:ext cx="818969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0</a:t>
            </a:r>
            <a:endParaRPr lang="ru-RU" b="1" dirty="0"/>
          </a:p>
        </p:txBody>
      </p:sp>
      <p:sp>
        <p:nvSpPr>
          <p:cNvPr id="78" name="Rectangle 77"/>
          <p:cNvSpPr/>
          <p:nvPr/>
        </p:nvSpPr>
        <p:spPr>
          <a:xfrm>
            <a:off x="10422345" y="2902743"/>
            <a:ext cx="844369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2</a:t>
            </a:r>
            <a:endParaRPr lang="ru-RU" b="1" dirty="0"/>
          </a:p>
        </p:txBody>
      </p:sp>
      <p:sp>
        <p:nvSpPr>
          <p:cNvPr id="79" name="Rectangle 78"/>
          <p:cNvSpPr/>
          <p:nvPr/>
        </p:nvSpPr>
        <p:spPr>
          <a:xfrm>
            <a:off x="10422345" y="3279178"/>
            <a:ext cx="964112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3</a:t>
            </a:r>
            <a:endParaRPr lang="ru-RU" b="1" dirty="0"/>
          </a:p>
        </p:txBody>
      </p:sp>
      <p:sp>
        <p:nvSpPr>
          <p:cNvPr id="80" name="Rectangle 79"/>
          <p:cNvSpPr/>
          <p:nvPr/>
        </p:nvSpPr>
        <p:spPr>
          <a:xfrm>
            <a:off x="10422344" y="3655613"/>
            <a:ext cx="1007655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8</a:t>
            </a:r>
            <a:endParaRPr lang="ru-RU" b="1" dirty="0"/>
          </a:p>
        </p:txBody>
      </p:sp>
      <p:sp>
        <p:nvSpPr>
          <p:cNvPr id="81" name="Rectangle 80"/>
          <p:cNvSpPr/>
          <p:nvPr/>
        </p:nvSpPr>
        <p:spPr>
          <a:xfrm>
            <a:off x="10422345" y="4032048"/>
            <a:ext cx="1206706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8,3</a:t>
            </a:r>
            <a:endParaRPr lang="ru-RU" b="1" dirty="0"/>
          </a:p>
        </p:txBody>
      </p:sp>
      <p:sp>
        <p:nvSpPr>
          <p:cNvPr id="82" name="Rectangle 81"/>
          <p:cNvSpPr/>
          <p:nvPr/>
        </p:nvSpPr>
        <p:spPr>
          <a:xfrm>
            <a:off x="10422345" y="4408483"/>
            <a:ext cx="1272541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8,4</a:t>
            </a:r>
            <a:endParaRPr lang="ru-RU" b="1" dirty="0"/>
          </a:p>
        </p:txBody>
      </p:sp>
      <p:sp>
        <p:nvSpPr>
          <p:cNvPr id="83" name="Rectangle 82"/>
          <p:cNvSpPr/>
          <p:nvPr/>
        </p:nvSpPr>
        <p:spPr>
          <a:xfrm>
            <a:off x="10422345" y="4784918"/>
            <a:ext cx="1319712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8,5</a:t>
            </a:r>
            <a:endParaRPr lang="ru-RU" b="1" dirty="0"/>
          </a:p>
        </p:txBody>
      </p:sp>
      <p:sp>
        <p:nvSpPr>
          <p:cNvPr id="84" name="Rectangle 83"/>
          <p:cNvSpPr/>
          <p:nvPr/>
        </p:nvSpPr>
        <p:spPr>
          <a:xfrm>
            <a:off x="10422345" y="5161353"/>
            <a:ext cx="1388655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8,9</a:t>
            </a:r>
            <a:endParaRPr lang="ru-RU" b="1" dirty="0"/>
          </a:p>
        </p:txBody>
      </p:sp>
      <p:sp>
        <p:nvSpPr>
          <p:cNvPr id="85" name="Rectangle 84"/>
          <p:cNvSpPr/>
          <p:nvPr/>
        </p:nvSpPr>
        <p:spPr>
          <a:xfrm>
            <a:off x="10422345" y="5537786"/>
            <a:ext cx="1590936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9,8</a:t>
            </a:r>
            <a:endParaRPr lang="ru-RU" b="1" dirty="0"/>
          </a:p>
        </p:txBody>
      </p:sp>
      <p:sp>
        <p:nvSpPr>
          <p:cNvPr id="86" name="Rectangle 85"/>
          <p:cNvSpPr/>
          <p:nvPr/>
        </p:nvSpPr>
        <p:spPr>
          <a:xfrm>
            <a:off x="6263999" y="2529116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Обеспечение качества </a:t>
            </a:r>
            <a:r>
              <a:rPr lang="ru-RU" sz="1600" dirty="0" smtClean="0">
                <a:solidFill>
                  <a:srgbClr val="000000"/>
                </a:solidFill>
              </a:rPr>
              <a:t>решения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6263998" y="2906487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Постановка задач </a:t>
            </a:r>
            <a:r>
              <a:rPr lang="ru-RU" sz="1600" dirty="0" smtClean="0">
                <a:solidFill>
                  <a:srgbClr val="000000"/>
                </a:solidFill>
              </a:rPr>
              <a:t>команде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6263998" y="3283858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>
                <a:solidFill>
                  <a:srgbClr val="000000"/>
                </a:solidFill>
              </a:rPr>
              <a:t>Оценка трудоемкости задач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6258307" y="3661229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Разработка </a:t>
            </a:r>
            <a:r>
              <a:rPr lang="ru-RU" sz="1600" dirty="0" smtClean="0">
                <a:solidFill>
                  <a:srgbClr val="000000"/>
                </a:solidFill>
              </a:rPr>
              <a:t>документации</a:t>
            </a:r>
          </a:p>
        </p:txBody>
      </p:sp>
      <p:sp>
        <p:nvSpPr>
          <p:cNvPr id="90" name="Rectangle 89"/>
          <p:cNvSpPr/>
          <p:nvPr/>
        </p:nvSpPr>
        <p:spPr>
          <a:xfrm>
            <a:off x="6258306" y="4038600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Настройка </a:t>
            </a:r>
            <a:r>
              <a:rPr lang="ru-RU" sz="1600" dirty="0" smtClean="0">
                <a:solidFill>
                  <a:srgbClr val="000000"/>
                </a:solidFill>
              </a:rPr>
              <a:t>решения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6258306" y="4415971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Работа с </a:t>
            </a:r>
            <a:r>
              <a:rPr lang="ru-RU" sz="1600" dirty="0" smtClean="0">
                <a:solidFill>
                  <a:srgbClr val="000000"/>
                </a:solidFill>
              </a:rPr>
              <a:t>рисками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6258307" y="4793342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Обработка обращений </a:t>
            </a:r>
            <a:r>
              <a:rPr lang="ru-RU" sz="1600" dirty="0" smtClean="0">
                <a:solidFill>
                  <a:srgbClr val="000000"/>
                </a:solidFill>
              </a:rPr>
              <a:t>заказчика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6258306" y="5170713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>
                <a:solidFill>
                  <a:srgbClr val="000000"/>
                </a:solidFill>
              </a:rPr>
              <a:t>Выстраивание процесса поставок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6258306" y="5537785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Участие в создании </a:t>
            </a:r>
            <a:r>
              <a:rPr lang="ru-RU" sz="1600" dirty="0" smtClean="0">
                <a:solidFill>
                  <a:srgbClr val="000000"/>
                </a:solidFill>
              </a:rPr>
              <a:t>БЗ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6258306" y="992013"/>
            <a:ext cx="5836806" cy="27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2E36DE"/>
                </a:solidFill>
              </a:rPr>
              <a:t>Аналитики</a:t>
            </a:r>
            <a:endParaRPr lang="ru-RU" sz="1600" b="1" dirty="0">
              <a:solidFill>
                <a:srgbClr val="2E36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557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9" grpId="0" animBg="1"/>
      <p:bldP spid="13" grpId="0" animBg="1"/>
      <p:bldP spid="14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3" grpId="0" animBg="1"/>
      <p:bldP spid="9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17</a:t>
            </a:fld>
            <a:endParaRPr lang="ru-RU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86001" y="474130"/>
            <a:ext cx="10566837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Ранг </a:t>
            </a:r>
            <a:r>
              <a:rPr lang="en-US" dirty="0"/>
              <a:t>soft</a:t>
            </a:r>
            <a:r>
              <a:rPr lang="ru-RU" dirty="0"/>
              <a:t>-</a:t>
            </a:r>
            <a:r>
              <a:rPr lang="ru-RU" dirty="0" err="1"/>
              <a:t>skills</a:t>
            </a:r>
            <a:r>
              <a:rPr lang="ru-RU" dirty="0"/>
              <a:t> задач ведущего аналитика</a:t>
            </a:r>
          </a:p>
        </p:txBody>
      </p:sp>
      <p:sp>
        <p:nvSpPr>
          <p:cNvPr id="2" name="Rectangle 1"/>
          <p:cNvSpPr/>
          <p:nvPr/>
        </p:nvSpPr>
        <p:spPr>
          <a:xfrm>
            <a:off x="4365176" y="1397003"/>
            <a:ext cx="541597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1,8</a:t>
            </a:r>
            <a:endParaRPr lang="ru-RU" b="1" dirty="0"/>
          </a:p>
        </p:txBody>
      </p:sp>
      <p:sp>
        <p:nvSpPr>
          <p:cNvPr id="8" name="Rectangle 7"/>
          <p:cNvSpPr/>
          <p:nvPr/>
        </p:nvSpPr>
        <p:spPr>
          <a:xfrm>
            <a:off x="4365176" y="1773438"/>
            <a:ext cx="776510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3,4</a:t>
            </a:r>
            <a:endParaRPr lang="ru-RU" b="1" dirty="0"/>
          </a:p>
        </p:txBody>
      </p:sp>
      <p:sp>
        <p:nvSpPr>
          <p:cNvPr id="9" name="Rectangle 8"/>
          <p:cNvSpPr/>
          <p:nvPr/>
        </p:nvSpPr>
        <p:spPr>
          <a:xfrm>
            <a:off x="206830" y="1397003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Проведение активностей с заказчиком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6829" y="1774374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Организация совместной </a:t>
            </a:r>
            <a:r>
              <a:rPr lang="ru-RU" sz="1600" dirty="0" smtClean="0">
                <a:solidFill>
                  <a:srgbClr val="000000"/>
                </a:solidFill>
              </a:rPr>
              <a:t>работы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06829" y="2151745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Планирование работ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092772" y="997857"/>
            <a:ext cx="8841" cy="3933372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65176" y="2149873"/>
            <a:ext cx="979710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4,6</a:t>
            </a:r>
            <a:endParaRPr lang="ru-RU" b="1" dirty="0"/>
          </a:p>
        </p:txBody>
      </p:sp>
      <p:sp>
        <p:nvSpPr>
          <p:cNvPr id="22" name="Rectangle 21"/>
          <p:cNvSpPr/>
          <p:nvPr/>
        </p:nvSpPr>
        <p:spPr>
          <a:xfrm>
            <a:off x="4365175" y="2526308"/>
            <a:ext cx="1066796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4,8</a:t>
            </a:r>
            <a:endParaRPr lang="ru-RU" b="1" dirty="0"/>
          </a:p>
        </p:txBody>
      </p:sp>
      <p:sp>
        <p:nvSpPr>
          <p:cNvPr id="23" name="Rectangle 22"/>
          <p:cNvSpPr/>
          <p:nvPr/>
        </p:nvSpPr>
        <p:spPr>
          <a:xfrm>
            <a:off x="4365176" y="2892030"/>
            <a:ext cx="1161138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3</a:t>
            </a:r>
            <a:endParaRPr lang="ru-RU" b="1" dirty="0"/>
          </a:p>
        </p:txBody>
      </p:sp>
      <p:sp>
        <p:nvSpPr>
          <p:cNvPr id="24" name="Rectangle 23"/>
          <p:cNvSpPr/>
          <p:nvPr/>
        </p:nvSpPr>
        <p:spPr>
          <a:xfrm>
            <a:off x="4365175" y="3268465"/>
            <a:ext cx="1328054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1</a:t>
            </a:r>
            <a:endParaRPr lang="ru-RU" b="1" dirty="0"/>
          </a:p>
        </p:txBody>
      </p:sp>
      <p:sp>
        <p:nvSpPr>
          <p:cNvPr id="25" name="Rectangle 24"/>
          <p:cNvSpPr/>
          <p:nvPr/>
        </p:nvSpPr>
        <p:spPr>
          <a:xfrm>
            <a:off x="4365175" y="3644900"/>
            <a:ext cx="1402533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2</a:t>
            </a:r>
            <a:endParaRPr lang="ru-RU" b="1" dirty="0"/>
          </a:p>
        </p:txBody>
      </p:sp>
      <p:sp>
        <p:nvSpPr>
          <p:cNvPr id="26" name="Rectangle 25"/>
          <p:cNvSpPr/>
          <p:nvPr/>
        </p:nvSpPr>
        <p:spPr>
          <a:xfrm>
            <a:off x="4365175" y="4021335"/>
            <a:ext cx="1486070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3</a:t>
            </a:r>
            <a:endParaRPr lang="ru-RU" b="1" dirty="0"/>
          </a:p>
        </p:txBody>
      </p:sp>
      <p:sp>
        <p:nvSpPr>
          <p:cNvPr id="27" name="Rectangle 26"/>
          <p:cNvSpPr/>
          <p:nvPr/>
        </p:nvSpPr>
        <p:spPr>
          <a:xfrm>
            <a:off x="4365176" y="4405258"/>
            <a:ext cx="1565210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5</a:t>
            </a:r>
            <a:endParaRPr lang="ru-RU" b="1" dirty="0"/>
          </a:p>
        </p:txBody>
      </p:sp>
      <p:sp>
        <p:nvSpPr>
          <p:cNvPr id="31" name="Rectangle 30"/>
          <p:cNvSpPr/>
          <p:nvPr/>
        </p:nvSpPr>
        <p:spPr>
          <a:xfrm>
            <a:off x="206830" y="2529116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Следовать принятой </a:t>
            </a:r>
            <a:r>
              <a:rPr lang="ru-RU" sz="1600" dirty="0" smtClean="0">
                <a:solidFill>
                  <a:srgbClr val="000000"/>
                </a:solidFill>
              </a:rPr>
              <a:t>методологии и т.д.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06829" y="2895774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Обучение и передача знаний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06829" y="3273145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Создание атмосферы в команде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01138" y="3650516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Участие в развитии команды аналитиков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01137" y="4027887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Контроль выполнения задач команды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01137" y="4405258"/>
            <a:ext cx="4103915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Регламентация командной работы</a:t>
            </a:r>
          </a:p>
        </p:txBody>
      </p:sp>
      <p:sp>
        <p:nvSpPr>
          <p:cNvPr id="70" name="Rectangle 69"/>
          <p:cNvSpPr/>
          <p:nvPr/>
        </p:nvSpPr>
        <p:spPr>
          <a:xfrm>
            <a:off x="201137" y="992013"/>
            <a:ext cx="5836806" cy="27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00A460"/>
                </a:solidFill>
              </a:rPr>
              <a:t>Менеджеры</a:t>
            </a:r>
            <a:endParaRPr lang="ru-RU" sz="1600" b="1" dirty="0">
              <a:solidFill>
                <a:srgbClr val="00A460"/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0422345" y="1397003"/>
            <a:ext cx="541597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2,5</a:t>
            </a:r>
            <a:endParaRPr lang="ru-RU" b="1" dirty="0"/>
          </a:p>
        </p:txBody>
      </p:sp>
      <p:sp>
        <p:nvSpPr>
          <p:cNvPr id="72" name="Rectangle 71"/>
          <p:cNvSpPr/>
          <p:nvPr/>
        </p:nvSpPr>
        <p:spPr>
          <a:xfrm>
            <a:off x="10422345" y="1773438"/>
            <a:ext cx="684712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3,0</a:t>
            </a:r>
            <a:endParaRPr lang="ru-RU" b="1" dirty="0"/>
          </a:p>
        </p:txBody>
      </p:sp>
      <p:sp>
        <p:nvSpPr>
          <p:cNvPr id="73" name="Rectangle 72"/>
          <p:cNvSpPr/>
          <p:nvPr/>
        </p:nvSpPr>
        <p:spPr>
          <a:xfrm>
            <a:off x="6263999" y="1397003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Организация совместной </a:t>
            </a:r>
            <a:r>
              <a:rPr lang="ru-RU" sz="1600" dirty="0" smtClean="0">
                <a:solidFill>
                  <a:srgbClr val="000000"/>
                </a:solidFill>
              </a:rPr>
              <a:t>работы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6263998" y="1774374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Проведение активностей с заказчиком</a:t>
            </a:r>
          </a:p>
        </p:txBody>
      </p:sp>
      <p:sp>
        <p:nvSpPr>
          <p:cNvPr id="75" name="Rectangle 74"/>
          <p:cNvSpPr/>
          <p:nvPr/>
        </p:nvSpPr>
        <p:spPr>
          <a:xfrm>
            <a:off x="6263998" y="2151745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Контроль выполнения задач команды</a:t>
            </a:r>
          </a:p>
        </p:txBody>
      </p:sp>
      <p:sp>
        <p:nvSpPr>
          <p:cNvPr id="76" name="Rectangle 75"/>
          <p:cNvSpPr/>
          <p:nvPr/>
        </p:nvSpPr>
        <p:spPr>
          <a:xfrm>
            <a:off x="10422344" y="2149873"/>
            <a:ext cx="916942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4,5</a:t>
            </a:r>
            <a:endParaRPr lang="ru-RU" b="1" dirty="0"/>
          </a:p>
        </p:txBody>
      </p:sp>
      <p:sp>
        <p:nvSpPr>
          <p:cNvPr id="77" name="Rectangle 76"/>
          <p:cNvSpPr/>
          <p:nvPr/>
        </p:nvSpPr>
        <p:spPr>
          <a:xfrm>
            <a:off x="10422344" y="2526308"/>
            <a:ext cx="1007656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4,8</a:t>
            </a:r>
            <a:endParaRPr lang="ru-RU" b="1" dirty="0"/>
          </a:p>
        </p:txBody>
      </p:sp>
      <p:sp>
        <p:nvSpPr>
          <p:cNvPr id="78" name="Rectangle 77"/>
          <p:cNvSpPr/>
          <p:nvPr/>
        </p:nvSpPr>
        <p:spPr>
          <a:xfrm>
            <a:off x="10422345" y="2902743"/>
            <a:ext cx="1170941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5</a:t>
            </a:r>
            <a:endParaRPr lang="ru-RU" b="1" dirty="0"/>
          </a:p>
        </p:txBody>
      </p:sp>
      <p:sp>
        <p:nvSpPr>
          <p:cNvPr id="79" name="Rectangle 78"/>
          <p:cNvSpPr/>
          <p:nvPr/>
        </p:nvSpPr>
        <p:spPr>
          <a:xfrm>
            <a:off x="10422344" y="3279178"/>
            <a:ext cx="1250770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7</a:t>
            </a:r>
            <a:endParaRPr lang="ru-RU" b="1" dirty="0"/>
          </a:p>
        </p:txBody>
      </p:sp>
      <p:sp>
        <p:nvSpPr>
          <p:cNvPr id="80" name="Rectangle 79"/>
          <p:cNvSpPr/>
          <p:nvPr/>
        </p:nvSpPr>
        <p:spPr>
          <a:xfrm>
            <a:off x="10422344" y="3655613"/>
            <a:ext cx="1301570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8</a:t>
            </a:r>
            <a:endParaRPr lang="ru-RU" b="1" dirty="0"/>
          </a:p>
        </p:txBody>
      </p:sp>
      <p:sp>
        <p:nvSpPr>
          <p:cNvPr id="81" name="Rectangle 80"/>
          <p:cNvSpPr/>
          <p:nvPr/>
        </p:nvSpPr>
        <p:spPr>
          <a:xfrm>
            <a:off x="10422345" y="4032048"/>
            <a:ext cx="1472112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3</a:t>
            </a:r>
            <a:endParaRPr lang="ru-RU" b="1" dirty="0"/>
          </a:p>
        </p:txBody>
      </p:sp>
      <p:sp>
        <p:nvSpPr>
          <p:cNvPr id="82" name="Rectangle 81"/>
          <p:cNvSpPr/>
          <p:nvPr/>
        </p:nvSpPr>
        <p:spPr>
          <a:xfrm>
            <a:off x="10422344" y="4412745"/>
            <a:ext cx="1565211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8</a:t>
            </a:r>
            <a:endParaRPr lang="ru-RU" b="1" dirty="0"/>
          </a:p>
        </p:txBody>
      </p:sp>
      <p:sp>
        <p:nvSpPr>
          <p:cNvPr id="86" name="Rectangle 85"/>
          <p:cNvSpPr/>
          <p:nvPr/>
        </p:nvSpPr>
        <p:spPr>
          <a:xfrm>
            <a:off x="6263999" y="2529116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Планирование работ</a:t>
            </a:r>
          </a:p>
        </p:txBody>
      </p:sp>
      <p:sp>
        <p:nvSpPr>
          <p:cNvPr id="87" name="Rectangle 86"/>
          <p:cNvSpPr/>
          <p:nvPr/>
        </p:nvSpPr>
        <p:spPr>
          <a:xfrm>
            <a:off x="6263998" y="2906487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Обучение </a:t>
            </a:r>
            <a:r>
              <a:rPr lang="ru-RU" sz="1600" dirty="0">
                <a:solidFill>
                  <a:srgbClr val="000000"/>
                </a:solidFill>
              </a:rPr>
              <a:t>и передача знаний</a:t>
            </a:r>
          </a:p>
        </p:txBody>
      </p:sp>
      <p:sp>
        <p:nvSpPr>
          <p:cNvPr id="88" name="Rectangle 87"/>
          <p:cNvSpPr/>
          <p:nvPr/>
        </p:nvSpPr>
        <p:spPr>
          <a:xfrm>
            <a:off x="6263998" y="3283858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Регламентация командной работы</a:t>
            </a:r>
          </a:p>
        </p:txBody>
      </p:sp>
      <p:sp>
        <p:nvSpPr>
          <p:cNvPr id="89" name="Rectangle 88"/>
          <p:cNvSpPr/>
          <p:nvPr/>
        </p:nvSpPr>
        <p:spPr>
          <a:xfrm>
            <a:off x="6258307" y="3661229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Создание атмосферы в команде</a:t>
            </a:r>
          </a:p>
        </p:txBody>
      </p:sp>
      <p:sp>
        <p:nvSpPr>
          <p:cNvPr id="90" name="Rectangle 89"/>
          <p:cNvSpPr/>
          <p:nvPr/>
        </p:nvSpPr>
        <p:spPr>
          <a:xfrm>
            <a:off x="6258306" y="4038601"/>
            <a:ext cx="4103915" cy="261430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Следовать принятой </a:t>
            </a:r>
            <a:r>
              <a:rPr lang="ru-RU" sz="1600" dirty="0" smtClean="0">
                <a:solidFill>
                  <a:srgbClr val="000000"/>
                </a:solidFill>
              </a:rPr>
              <a:t>методологии и т.д.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6258306" y="4412746"/>
            <a:ext cx="4103915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Участие в развитии команды аналитиков</a:t>
            </a:r>
          </a:p>
        </p:txBody>
      </p:sp>
      <p:sp>
        <p:nvSpPr>
          <p:cNvPr id="95" name="Rectangle 94"/>
          <p:cNvSpPr/>
          <p:nvPr/>
        </p:nvSpPr>
        <p:spPr>
          <a:xfrm>
            <a:off x="6258306" y="992013"/>
            <a:ext cx="5836806" cy="27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2E36DE"/>
                </a:solidFill>
              </a:rPr>
              <a:t>Аналитики</a:t>
            </a:r>
            <a:endParaRPr lang="ru-RU" sz="1600" b="1" dirty="0">
              <a:solidFill>
                <a:srgbClr val="2E36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233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9" grpId="0" animBg="1"/>
      <p:bldP spid="13" grpId="0" animBg="1"/>
      <p:bldP spid="14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86001" y="474130"/>
            <a:ext cx="10566837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Ранг </a:t>
            </a:r>
            <a:r>
              <a:rPr lang="ru-RU" dirty="0">
                <a:solidFill>
                  <a:schemeClr val="tx2"/>
                </a:solidFill>
              </a:rPr>
              <a:t>качеств </a:t>
            </a:r>
            <a:r>
              <a:rPr lang="ru-RU" dirty="0" smtClean="0"/>
              <a:t>ведущего </a:t>
            </a:r>
            <a:r>
              <a:rPr lang="ru-RU" dirty="0"/>
              <a:t>аналитика</a:t>
            </a:r>
          </a:p>
        </p:txBody>
      </p:sp>
      <p:sp>
        <p:nvSpPr>
          <p:cNvPr id="2" name="Rectangle 1"/>
          <p:cNvSpPr/>
          <p:nvPr/>
        </p:nvSpPr>
        <p:spPr>
          <a:xfrm>
            <a:off x="2554505" y="1397003"/>
            <a:ext cx="541597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1,1</a:t>
            </a:r>
            <a:endParaRPr lang="ru-RU" b="1" dirty="0"/>
          </a:p>
        </p:txBody>
      </p:sp>
      <p:sp>
        <p:nvSpPr>
          <p:cNvPr id="8" name="Rectangle 7"/>
          <p:cNvSpPr/>
          <p:nvPr/>
        </p:nvSpPr>
        <p:spPr>
          <a:xfrm>
            <a:off x="2554505" y="1773438"/>
            <a:ext cx="658388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3,6</a:t>
            </a:r>
            <a:endParaRPr lang="ru-RU" b="1" dirty="0"/>
          </a:p>
        </p:txBody>
      </p:sp>
      <p:sp>
        <p:nvSpPr>
          <p:cNvPr id="9" name="Rectangle 8"/>
          <p:cNvSpPr/>
          <p:nvPr/>
        </p:nvSpPr>
        <p:spPr>
          <a:xfrm>
            <a:off x="206830" y="1397003"/>
            <a:ext cx="2248629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Мышление (А, С, А)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06829" y="1774374"/>
            <a:ext cx="2248629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Самостоятельность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06829" y="2151745"/>
            <a:ext cx="2248629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Внимательность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024483" y="997857"/>
            <a:ext cx="8841" cy="3933372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554505" y="2149873"/>
            <a:ext cx="830677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1</a:t>
            </a:r>
            <a:endParaRPr lang="ru-RU" b="1" dirty="0"/>
          </a:p>
        </p:txBody>
      </p:sp>
      <p:sp>
        <p:nvSpPr>
          <p:cNvPr id="22" name="Rectangle 21"/>
          <p:cNvSpPr/>
          <p:nvPr/>
        </p:nvSpPr>
        <p:spPr>
          <a:xfrm>
            <a:off x="2554504" y="2526308"/>
            <a:ext cx="904516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8</a:t>
            </a:r>
            <a:endParaRPr lang="ru-RU" b="1" dirty="0"/>
          </a:p>
        </p:txBody>
      </p:sp>
      <p:sp>
        <p:nvSpPr>
          <p:cNvPr id="23" name="Rectangle 22"/>
          <p:cNvSpPr/>
          <p:nvPr/>
        </p:nvSpPr>
        <p:spPr>
          <a:xfrm>
            <a:off x="2554505" y="2892030"/>
            <a:ext cx="984506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9</a:t>
            </a:r>
            <a:endParaRPr lang="ru-RU" b="1" dirty="0"/>
          </a:p>
        </p:txBody>
      </p:sp>
      <p:sp>
        <p:nvSpPr>
          <p:cNvPr id="24" name="Rectangle 23"/>
          <p:cNvSpPr/>
          <p:nvPr/>
        </p:nvSpPr>
        <p:spPr>
          <a:xfrm>
            <a:off x="2554504" y="3268465"/>
            <a:ext cx="1126031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2</a:t>
            </a:r>
            <a:endParaRPr lang="ru-RU" b="1" dirty="0"/>
          </a:p>
        </p:txBody>
      </p:sp>
      <p:sp>
        <p:nvSpPr>
          <p:cNvPr id="25" name="Rectangle 24"/>
          <p:cNvSpPr/>
          <p:nvPr/>
        </p:nvSpPr>
        <p:spPr>
          <a:xfrm>
            <a:off x="2554505" y="3644900"/>
            <a:ext cx="1189180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9</a:t>
            </a:r>
            <a:endParaRPr lang="ru-RU" b="1" dirty="0"/>
          </a:p>
        </p:txBody>
      </p:sp>
      <p:sp>
        <p:nvSpPr>
          <p:cNvPr id="26" name="Rectangle 25"/>
          <p:cNvSpPr/>
          <p:nvPr/>
        </p:nvSpPr>
        <p:spPr>
          <a:xfrm>
            <a:off x="2554504" y="4021335"/>
            <a:ext cx="1260010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7,5</a:t>
            </a:r>
            <a:endParaRPr lang="ru-RU" b="1" dirty="0"/>
          </a:p>
        </p:txBody>
      </p:sp>
      <p:sp>
        <p:nvSpPr>
          <p:cNvPr id="27" name="Rectangle 26"/>
          <p:cNvSpPr/>
          <p:nvPr/>
        </p:nvSpPr>
        <p:spPr>
          <a:xfrm>
            <a:off x="2554505" y="4405258"/>
            <a:ext cx="1327111" cy="272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7,9</a:t>
            </a:r>
            <a:endParaRPr lang="ru-RU" b="1" dirty="0"/>
          </a:p>
        </p:txBody>
      </p:sp>
      <p:sp>
        <p:nvSpPr>
          <p:cNvPr id="31" name="Rectangle 30"/>
          <p:cNvSpPr/>
          <p:nvPr/>
        </p:nvSpPr>
        <p:spPr>
          <a:xfrm>
            <a:off x="206830" y="2529116"/>
            <a:ext cx="2248629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Инициативность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06829" y="2895774"/>
            <a:ext cx="2248629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Стрессоустойчивость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06829" y="3273145"/>
            <a:ext cx="2248629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Грамотность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01138" y="3650516"/>
            <a:ext cx="2248629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Обучаемость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01137" y="4027887"/>
            <a:ext cx="2248629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Умение делегировать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01137" y="4405258"/>
            <a:ext cx="2248629" cy="27214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Тайм-менеджмент</a:t>
            </a:r>
          </a:p>
        </p:txBody>
      </p:sp>
      <p:sp>
        <p:nvSpPr>
          <p:cNvPr id="70" name="Rectangle 69"/>
          <p:cNvSpPr/>
          <p:nvPr/>
        </p:nvSpPr>
        <p:spPr>
          <a:xfrm>
            <a:off x="201137" y="992013"/>
            <a:ext cx="3628299" cy="27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00A460"/>
                </a:solidFill>
              </a:rPr>
              <a:t>Менеджеры</a:t>
            </a:r>
            <a:endParaRPr lang="ru-RU" sz="1600" b="1" dirty="0">
              <a:solidFill>
                <a:srgbClr val="00A460"/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6583299" y="1397003"/>
            <a:ext cx="541597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1,4</a:t>
            </a:r>
            <a:endParaRPr lang="ru-RU" b="1" dirty="0"/>
          </a:p>
        </p:txBody>
      </p:sp>
      <p:sp>
        <p:nvSpPr>
          <p:cNvPr id="72" name="Rectangle 71"/>
          <p:cNvSpPr/>
          <p:nvPr/>
        </p:nvSpPr>
        <p:spPr>
          <a:xfrm>
            <a:off x="6583298" y="1773438"/>
            <a:ext cx="875907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2</a:t>
            </a:r>
            <a:endParaRPr lang="ru-RU" b="1" dirty="0"/>
          </a:p>
        </p:txBody>
      </p:sp>
      <p:sp>
        <p:nvSpPr>
          <p:cNvPr id="73" name="Rectangle 72"/>
          <p:cNvSpPr/>
          <p:nvPr/>
        </p:nvSpPr>
        <p:spPr>
          <a:xfrm>
            <a:off x="4235624" y="1397003"/>
            <a:ext cx="2248629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Мышление </a:t>
            </a:r>
            <a:r>
              <a:rPr lang="ru-RU" sz="1600" dirty="0" smtClean="0">
                <a:solidFill>
                  <a:srgbClr val="000000"/>
                </a:solidFill>
              </a:rPr>
              <a:t>(</a:t>
            </a:r>
            <a:r>
              <a:rPr lang="ru-RU" sz="1600" dirty="0">
                <a:solidFill>
                  <a:srgbClr val="000000"/>
                </a:solidFill>
              </a:rPr>
              <a:t>А, С, А)</a:t>
            </a:r>
          </a:p>
        </p:txBody>
      </p:sp>
      <p:sp>
        <p:nvSpPr>
          <p:cNvPr id="74" name="Rectangle 73"/>
          <p:cNvSpPr/>
          <p:nvPr/>
        </p:nvSpPr>
        <p:spPr>
          <a:xfrm>
            <a:off x="4235623" y="1774374"/>
            <a:ext cx="2248629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Внимательность</a:t>
            </a:r>
          </a:p>
        </p:txBody>
      </p:sp>
      <p:sp>
        <p:nvSpPr>
          <p:cNvPr id="75" name="Rectangle 74"/>
          <p:cNvSpPr/>
          <p:nvPr/>
        </p:nvSpPr>
        <p:spPr>
          <a:xfrm>
            <a:off x="4235623" y="2151745"/>
            <a:ext cx="2248629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Обучаемость</a:t>
            </a:r>
          </a:p>
        </p:txBody>
      </p:sp>
      <p:sp>
        <p:nvSpPr>
          <p:cNvPr id="76" name="Rectangle 75"/>
          <p:cNvSpPr/>
          <p:nvPr/>
        </p:nvSpPr>
        <p:spPr>
          <a:xfrm>
            <a:off x="6583298" y="2149873"/>
            <a:ext cx="949747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4</a:t>
            </a:r>
            <a:endParaRPr lang="ru-RU" b="1" dirty="0"/>
          </a:p>
        </p:txBody>
      </p:sp>
      <p:sp>
        <p:nvSpPr>
          <p:cNvPr id="77" name="Rectangle 76"/>
          <p:cNvSpPr/>
          <p:nvPr/>
        </p:nvSpPr>
        <p:spPr>
          <a:xfrm>
            <a:off x="6583298" y="2526308"/>
            <a:ext cx="998972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5</a:t>
            </a:r>
            <a:endParaRPr lang="ru-RU" b="1" dirty="0"/>
          </a:p>
        </p:txBody>
      </p:sp>
      <p:sp>
        <p:nvSpPr>
          <p:cNvPr id="78" name="Rectangle 77"/>
          <p:cNvSpPr/>
          <p:nvPr/>
        </p:nvSpPr>
        <p:spPr>
          <a:xfrm>
            <a:off x="6583299" y="2902743"/>
            <a:ext cx="1057427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6</a:t>
            </a:r>
            <a:endParaRPr lang="ru-RU" b="1" dirty="0"/>
          </a:p>
        </p:txBody>
      </p:sp>
      <p:sp>
        <p:nvSpPr>
          <p:cNvPr id="79" name="Rectangle 78"/>
          <p:cNvSpPr/>
          <p:nvPr/>
        </p:nvSpPr>
        <p:spPr>
          <a:xfrm>
            <a:off x="6583298" y="3279178"/>
            <a:ext cx="1211257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3</a:t>
            </a:r>
            <a:endParaRPr lang="ru-RU" b="1" dirty="0"/>
          </a:p>
        </p:txBody>
      </p:sp>
      <p:sp>
        <p:nvSpPr>
          <p:cNvPr id="80" name="Rectangle 79"/>
          <p:cNvSpPr/>
          <p:nvPr/>
        </p:nvSpPr>
        <p:spPr>
          <a:xfrm>
            <a:off x="6583298" y="3661229"/>
            <a:ext cx="1269712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4</a:t>
            </a:r>
            <a:endParaRPr lang="ru-RU" b="1" dirty="0"/>
          </a:p>
        </p:txBody>
      </p:sp>
      <p:sp>
        <p:nvSpPr>
          <p:cNvPr id="81" name="Rectangle 80"/>
          <p:cNvSpPr/>
          <p:nvPr/>
        </p:nvSpPr>
        <p:spPr>
          <a:xfrm>
            <a:off x="6583299" y="4032048"/>
            <a:ext cx="1327111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6</a:t>
            </a:r>
            <a:endParaRPr lang="ru-RU" b="1" dirty="0"/>
          </a:p>
        </p:txBody>
      </p:sp>
      <p:sp>
        <p:nvSpPr>
          <p:cNvPr id="82" name="Rectangle 81"/>
          <p:cNvSpPr/>
          <p:nvPr/>
        </p:nvSpPr>
        <p:spPr>
          <a:xfrm>
            <a:off x="6583299" y="4412745"/>
            <a:ext cx="1327112" cy="272143"/>
          </a:xfrm>
          <a:prstGeom prst="rect">
            <a:avLst/>
          </a:prstGeom>
          <a:solidFill>
            <a:srgbClr val="475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6</a:t>
            </a:r>
            <a:endParaRPr lang="ru-RU" b="1" dirty="0"/>
          </a:p>
        </p:txBody>
      </p:sp>
      <p:sp>
        <p:nvSpPr>
          <p:cNvPr id="86" name="Rectangle 85"/>
          <p:cNvSpPr/>
          <p:nvPr/>
        </p:nvSpPr>
        <p:spPr>
          <a:xfrm>
            <a:off x="4235624" y="2529116"/>
            <a:ext cx="2248629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Самостоятельность</a:t>
            </a:r>
          </a:p>
        </p:txBody>
      </p:sp>
      <p:sp>
        <p:nvSpPr>
          <p:cNvPr id="87" name="Rectangle 86"/>
          <p:cNvSpPr/>
          <p:nvPr/>
        </p:nvSpPr>
        <p:spPr>
          <a:xfrm>
            <a:off x="4235623" y="2906487"/>
            <a:ext cx="2248629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Стрессоустойчивость</a:t>
            </a:r>
          </a:p>
        </p:txBody>
      </p:sp>
      <p:sp>
        <p:nvSpPr>
          <p:cNvPr id="88" name="Rectangle 87"/>
          <p:cNvSpPr/>
          <p:nvPr/>
        </p:nvSpPr>
        <p:spPr>
          <a:xfrm>
            <a:off x="4235623" y="3283858"/>
            <a:ext cx="2248629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Умение делегировать</a:t>
            </a:r>
          </a:p>
        </p:txBody>
      </p:sp>
      <p:sp>
        <p:nvSpPr>
          <p:cNvPr id="89" name="Rectangle 88"/>
          <p:cNvSpPr/>
          <p:nvPr/>
        </p:nvSpPr>
        <p:spPr>
          <a:xfrm>
            <a:off x="4229932" y="3661229"/>
            <a:ext cx="2248629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Инициативность</a:t>
            </a:r>
          </a:p>
        </p:txBody>
      </p:sp>
      <p:sp>
        <p:nvSpPr>
          <p:cNvPr id="90" name="Rectangle 89"/>
          <p:cNvSpPr/>
          <p:nvPr/>
        </p:nvSpPr>
        <p:spPr>
          <a:xfrm>
            <a:off x="4229931" y="4038601"/>
            <a:ext cx="2248629" cy="261430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Грамотность</a:t>
            </a:r>
          </a:p>
        </p:txBody>
      </p:sp>
      <p:sp>
        <p:nvSpPr>
          <p:cNvPr id="91" name="Rectangle 90"/>
          <p:cNvSpPr/>
          <p:nvPr/>
        </p:nvSpPr>
        <p:spPr>
          <a:xfrm>
            <a:off x="4229931" y="4412746"/>
            <a:ext cx="2248629" cy="272143"/>
          </a:xfrm>
          <a:prstGeom prst="rect">
            <a:avLst/>
          </a:prstGeom>
          <a:noFill/>
          <a:ln w="9525">
            <a:solidFill>
              <a:srgbClr val="2E36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Тайм-менеджмент</a:t>
            </a:r>
          </a:p>
        </p:txBody>
      </p:sp>
      <p:sp>
        <p:nvSpPr>
          <p:cNvPr id="95" name="Rectangle 94"/>
          <p:cNvSpPr/>
          <p:nvPr/>
        </p:nvSpPr>
        <p:spPr>
          <a:xfrm>
            <a:off x="4229931" y="990060"/>
            <a:ext cx="3680479" cy="27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2E36DE"/>
                </a:solidFill>
              </a:rPr>
              <a:t>Аналитики</a:t>
            </a:r>
            <a:endParaRPr lang="ru-RU" sz="1600" b="1" dirty="0">
              <a:solidFill>
                <a:srgbClr val="2E36D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8318034" y="999152"/>
            <a:ext cx="3670768" cy="27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>
                    <a:lumMod val="50000"/>
                  </a:schemeClr>
                </a:solidFill>
              </a:rPr>
              <a:t>Все</a:t>
            </a:r>
            <a:endParaRPr lang="ru-RU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>
            <a:off x="8117384" y="997857"/>
            <a:ext cx="8841" cy="3933372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>
          <a:xfrm>
            <a:off x="10661689" y="1397003"/>
            <a:ext cx="541597" cy="2721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1,4</a:t>
            </a:r>
            <a:endParaRPr lang="ru-RU" b="1" dirty="0"/>
          </a:p>
        </p:txBody>
      </p:sp>
      <p:sp>
        <p:nvSpPr>
          <p:cNvPr id="56" name="Rectangle 55"/>
          <p:cNvSpPr/>
          <p:nvPr/>
        </p:nvSpPr>
        <p:spPr>
          <a:xfrm>
            <a:off x="10661688" y="1773438"/>
            <a:ext cx="875907" cy="2721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0</a:t>
            </a:r>
            <a:endParaRPr lang="ru-RU" b="1" dirty="0"/>
          </a:p>
        </p:txBody>
      </p:sp>
      <p:sp>
        <p:nvSpPr>
          <p:cNvPr id="57" name="Rectangle 56"/>
          <p:cNvSpPr/>
          <p:nvPr/>
        </p:nvSpPr>
        <p:spPr>
          <a:xfrm>
            <a:off x="8314014" y="1397003"/>
            <a:ext cx="2248629" cy="2721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Мышление </a:t>
            </a:r>
            <a:r>
              <a:rPr lang="ru-RU" sz="1600" dirty="0" smtClean="0">
                <a:solidFill>
                  <a:srgbClr val="000000"/>
                </a:solidFill>
              </a:rPr>
              <a:t>(</a:t>
            </a:r>
            <a:r>
              <a:rPr lang="ru-RU" sz="1600" dirty="0">
                <a:solidFill>
                  <a:srgbClr val="000000"/>
                </a:solidFill>
              </a:rPr>
              <a:t>А, С, А)</a:t>
            </a:r>
          </a:p>
        </p:txBody>
      </p:sp>
      <p:sp>
        <p:nvSpPr>
          <p:cNvPr id="58" name="Rectangle 57"/>
          <p:cNvSpPr/>
          <p:nvPr/>
        </p:nvSpPr>
        <p:spPr>
          <a:xfrm>
            <a:off x="8314013" y="1774374"/>
            <a:ext cx="2248629" cy="2721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Внимательность</a:t>
            </a:r>
          </a:p>
        </p:txBody>
      </p:sp>
      <p:sp>
        <p:nvSpPr>
          <p:cNvPr id="59" name="Rectangle 58"/>
          <p:cNvSpPr/>
          <p:nvPr/>
        </p:nvSpPr>
        <p:spPr>
          <a:xfrm>
            <a:off x="8314013" y="2151745"/>
            <a:ext cx="2248629" cy="2721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Самостоятельность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0661689" y="2149873"/>
            <a:ext cx="940905" cy="2721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1</a:t>
            </a:r>
            <a:endParaRPr lang="ru-RU" b="1" dirty="0"/>
          </a:p>
        </p:txBody>
      </p:sp>
      <p:sp>
        <p:nvSpPr>
          <p:cNvPr id="61" name="Rectangle 60"/>
          <p:cNvSpPr/>
          <p:nvPr/>
        </p:nvSpPr>
        <p:spPr>
          <a:xfrm>
            <a:off x="10661688" y="2526308"/>
            <a:ext cx="1057428" cy="2721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5,8</a:t>
            </a:r>
            <a:endParaRPr lang="ru-RU" b="1" dirty="0"/>
          </a:p>
        </p:txBody>
      </p:sp>
      <p:sp>
        <p:nvSpPr>
          <p:cNvPr id="62" name="Rectangle 61"/>
          <p:cNvSpPr/>
          <p:nvPr/>
        </p:nvSpPr>
        <p:spPr>
          <a:xfrm>
            <a:off x="10661689" y="2902743"/>
            <a:ext cx="1132815" cy="2721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0</a:t>
            </a:r>
            <a:endParaRPr lang="ru-RU" b="1" dirty="0"/>
          </a:p>
        </p:txBody>
      </p:sp>
      <p:sp>
        <p:nvSpPr>
          <p:cNvPr id="63" name="Rectangle 62"/>
          <p:cNvSpPr/>
          <p:nvPr/>
        </p:nvSpPr>
        <p:spPr>
          <a:xfrm>
            <a:off x="10661688" y="3279178"/>
            <a:ext cx="1202416" cy="2721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4</a:t>
            </a:r>
            <a:endParaRPr lang="ru-RU" b="1" dirty="0"/>
          </a:p>
        </p:txBody>
      </p:sp>
      <p:sp>
        <p:nvSpPr>
          <p:cNvPr id="64" name="Rectangle 63"/>
          <p:cNvSpPr/>
          <p:nvPr/>
        </p:nvSpPr>
        <p:spPr>
          <a:xfrm>
            <a:off x="10661688" y="3661229"/>
            <a:ext cx="1218259" cy="2721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4</a:t>
            </a:r>
            <a:endParaRPr lang="ru-RU" b="1" dirty="0"/>
          </a:p>
        </p:txBody>
      </p:sp>
      <p:sp>
        <p:nvSpPr>
          <p:cNvPr id="65" name="Rectangle 64"/>
          <p:cNvSpPr/>
          <p:nvPr/>
        </p:nvSpPr>
        <p:spPr>
          <a:xfrm>
            <a:off x="10661689" y="4032048"/>
            <a:ext cx="1269711" cy="2721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 smtClean="0"/>
              <a:t>6,9</a:t>
            </a:r>
            <a:endParaRPr lang="ru-RU" b="1" dirty="0"/>
          </a:p>
        </p:txBody>
      </p:sp>
      <p:sp>
        <p:nvSpPr>
          <p:cNvPr id="66" name="Rectangle 65"/>
          <p:cNvSpPr/>
          <p:nvPr/>
        </p:nvSpPr>
        <p:spPr>
          <a:xfrm>
            <a:off x="10661689" y="4412745"/>
            <a:ext cx="1327112" cy="27214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b="1" dirty="0"/>
              <a:t>7</a:t>
            </a:r>
            <a:r>
              <a:rPr lang="ru-RU" b="1" dirty="0" smtClean="0"/>
              <a:t>,0</a:t>
            </a:r>
            <a:endParaRPr lang="ru-RU" b="1" dirty="0"/>
          </a:p>
        </p:txBody>
      </p:sp>
      <p:sp>
        <p:nvSpPr>
          <p:cNvPr id="67" name="Rectangle 66"/>
          <p:cNvSpPr/>
          <p:nvPr/>
        </p:nvSpPr>
        <p:spPr>
          <a:xfrm>
            <a:off x="8314014" y="2529116"/>
            <a:ext cx="2248629" cy="2721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Обучаемость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314013" y="2906487"/>
            <a:ext cx="2248629" cy="2721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Стрессоустойчивость</a:t>
            </a:r>
          </a:p>
        </p:txBody>
      </p:sp>
      <p:sp>
        <p:nvSpPr>
          <p:cNvPr id="69" name="Rectangle 68"/>
          <p:cNvSpPr/>
          <p:nvPr/>
        </p:nvSpPr>
        <p:spPr>
          <a:xfrm>
            <a:off x="8314013" y="3283858"/>
            <a:ext cx="2248629" cy="2721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 smtClean="0">
                <a:solidFill>
                  <a:srgbClr val="000000"/>
                </a:solidFill>
              </a:rPr>
              <a:t>Инициативность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8308322" y="3661229"/>
            <a:ext cx="2248629" cy="2721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>
                <a:solidFill>
                  <a:srgbClr val="000000"/>
                </a:solidFill>
              </a:rPr>
              <a:t>Грамотность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8308321" y="4038601"/>
            <a:ext cx="2248629" cy="26143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>
                <a:solidFill>
                  <a:srgbClr val="000000"/>
                </a:solidFill>
              </a:rPr>
              <a:t>Тайм-менеджмент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8308321" y="4412746"/>
            <a:ext cx="2248629" cy="2721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rgbClr val="000000"/>
                </a:solidFill>
              </a:rPr>
              <a:t>Умение делегировать</a:t>
            </a:r>
          </a:p>
        </p:txBody>
      </p:sp>
    </p:spTree>
    <p:extLst>
      <p:ext uri="{BB962C8B-B14F-4D97-AF65-F5344CB8AC3E}">
        <p14:creationId xmlns:p14="http://schemas.microsoft.com/office/powerpoint/2010/main" val="993476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9" grpId="0" animBg="1"/>
      <p:bldP spid="13" grpId="0" animBg="1"/>
      <p:bldP spid="14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83" grpId="0" animBg="1"/>
      <p:bldP spid="84" grpId="0" animBg="1"/>
      <p:bldP spid="8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19</a:t>
            </a:fld>
            <a:endParaRPr lang="ru-RU"/>
          </a:p>
        </p:txBody>
      </p:sp>
      <p:graphicFrame>
        <p:nvGraphicFramePr>
          <p:cNvPr id="6" name="Таблица 9">
            <a:extLst>
              <a:ext uri="{FF2B5EF4-FFF2-40B4-BE49-F238E27FC236}">
                <a16:creationId xmlns:a16="http://schemas.microsoft.com/office/drawing/2014/main" id="{25A1486A-7CCA-404A-BF1F-E7BD303F5B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8717996"/>
              </p:ext>
            </p:extLst>
          </p:nvPr>
        </p:nvGraphicFramePr>
        <p:xfrm>
          <a:off x="488249" y="944889"/>
          <a:ext cx="11323680" cy="60225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25145">
                  <a:extLst>
                    <a:ext uri="{9D8B030D-6E8A-4147-A177-3AD203B41FA5}">
                      <a16:colId xmlns:a16="http://schemas.microsoft.com/office/drawing/2014/main" val="2052779202"/>
                    </a:ext>
                  </a:extLst>
                </a:gridCol>
                <a:gridCol w="2198535">
                  <a:extLst>
                    <a:ext uri="{9D8B030D-6E8A-4147-A177-3AD203B41FA5}">
                      <a16:colId xmlns:a16="http://schemas.microsoft.com/office/drawing/2014/main" val="4268556142"/>
                    </a:ext>
                  </a:extLst>
                </a:gridCol>
              </a:tblGrid>
              <a:tr h="546137">
                <a:tc>
                  <a:txBody>
                    <a:bodyPr/>
                    <a:lstStyle/>
                    <a:p>
                      <a:pPr algn="l"/>
                      <a:r>
                        <a:rPr lang="ru-RU" sz="2000" b="1" dirty="0" smtClean="0">
                          <a:solidFill>
                            <a:srgbClr val="00A460"/>
                          </a:solidFill>
                          <a:latin typeface="+mj-lt"/>
                        </a:rPr>
                        <a:t>Человек, …</a:t>
                      </a:r>
                      <a:endParaRPr lang="ru-RU" sz="2000" b="1" dirty="0">
                        <a:solidFill>
                          <a:srgbClr val="00A460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/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Сколько</a:t>
                      </a:r>
                      <a:r>
                        <a:rPr lang="ru-RU" sz="1600" b="1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выбрали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22568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торый 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водит неопределенность в ситуации до максимально возможного минимума</a:t>
                      </a:r>
                    </a:p>
                  </a:txBody>
                  <a:tcPr marL="2136" marR="2136" marT="2136" marB="0" anchor="b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tabLst>
                          <a:tab pos="357188" algn="l"/>
                          <a:tab pos="628650" algn="l"/>
                          <a:tab pos="898525" algn="l"/>
                          <a:tab pos="1077913" algn="l"/>
                          <a:tab pos="1614488" algn="l"/>
                          <a:tab pos="1971675" algn="l"/>
                          <a:tab pos="2063750" algn="l"/>
                        </a:tabLst>
                      </a:pPr>
                      <a:r>
                        <a:rPr lang="ru-RU" sz="1600" b="0" i="0" kern="120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.7%  </a:t>
                      </a:r>
                      <a:endParaRPr lang="ru-RU" sz="1600" b="0" i="0" kern="1200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136" marR="2136" marT="2136" marB="0" anchor="b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54679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торый 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меет делать быстро, качественно, понимая Заказчика даже по междометьям</a:t>
                      </a:r>
                    </a:p>
                  </a:txBody>
                  <a:tcPr marL="2136" marR="2136" marT="2136" marB="0" anchor="b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.9%</a:t>
                      </a:r>
                    </a:p>
                  </a:txBody>
                  <a:tcPr marL="2136" marR="2136" marT="2136" marB="0" anchor="b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026596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нающий 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к действовать в любой ситуации (в своем деле, конечно)</a:t>
                      </a:r>
                    </a:p>
                  </a:txBody>
                  <a:tcPr marL="2136" marR="2136" marT="2136" marB="0" anchor="b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.7%</a:t>
                      </a:r>
                    </a:p>
                  </a:txBody>
                  <a:tcPr marL="2136" marR="2136" marT="2136" marB="0" anchor="b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855220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торый 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учает удовольствие от работы и мотивирует других</a:t>
                      </a:r>
                    </a:p>
                  </a:txBody>
                  <a:tcPr marL="2136" marR="2136" marT="2136" marB="0" anchor="b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.1%</a:t>
                      </a:r>
                    </a:p>
                  </a:txBody>
                  <a:tcPr marL="2136" marR="2136" marT="2136" marB="0" anchor="b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324757"/>
                  </a:ext>
                </a:extLst>
              </a:tr>
              <a:tr h="987214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своивший 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есь накопленный человечеством опыт в области анализа в ИТ-проектах со всеми методологиями, техниками и инструментами, а заодно и в максимальной степени обладать всеми положительными личными качествами, присущими человеческим существам</a:t>
                      </a:r>
                    </a:p>
                  </a:txBody>
                  <a:tcPr marL="2136" marR="2136" marT="2136" marB="0" anchor="b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.9%</a:t>
                      </a:r>
                    </a:p>
                  </a:txBody>
                  <a:tcPr marL="2136" marR="2136" marT="2136" marB="0" anchor="b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58849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 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торого весь проект под контролем</a:t>
                      </a:r>
                    </a:p>
                  </a:txBody>
                  <a:tcPr marL="2136" marR="2136" marT="2136" marB="0" anchor="b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%</a:t>
                      </a:r>
                    </a:p>
                  </a:txBody>
                  <a:tcPr marL="2136" marR="2136" marT="2136" marB="0" anchor="b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98005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является лидером 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анды</a:t>
                      </a:r>
                    </a:p>
                  </a:txBody>
                  <a:tcPr marL="2136" marR="2136" marT="2136" marB="0" anchor="b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.8%</a:t>
                      </a:r>
                    </a:p>
                  </a:txBody>
                  <a:tcPr marL="2136" marR="2136" marT="2136" marB="0" anchor="b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30238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ругой...</a:t>
                      </a:r>
                    </a:p>
                  </a:txBody>
                  <a:tcPr marL="2136" marR="2136" marT="2136" marB="0" anchor="b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1%</a:t>
                      </a:r>
                    </a:p>
                  </a:txBody>
                  <a:tcPr marL="2136" marR="2136" marT="2136" marB="0" anchor="b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9344814"/>
                  </a:ext>
                </a:extLst>
              </a:tr>
              <a:tr h="546137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136" marR="2136" marT="2136" marB="0" anchor="b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600" b="0" i="0" kern="1200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136" marR="2136" marT="2136" marB="0" anchor="b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544730"/>
                  </a:ext>
                </a:extLst>
              </a:tr>
            </a:tbl>
          </a:graphicData>
        </a:graphic>
      </p:graphicFrame>
      <p:sp>
        <p:nvSpPr>
          <p:cNvPr id="5" name="Прямоугольник 11">
            <a:extLst>
              <a:ext uri="{FF2B5EF4-FFF2-40B4-BE49-F238E27FC236}">
                <a16:creationId xmlns:a16="http://schemas.microsoft.com/office/drawing/2014/main" id="{17226A6B-E912-4CC5-8D0F-47638BBEE33F}"/>
              </a:ext>
            </a:extLst>
          </p:cNvPr>
          <p:cNvSpPr/>
          <p:nvPr/>
        </p:nvSpPr>
        <p:spPr>
          <a:xfrm>
            <a:off x="9621077" y="944890"/>
            <a:ext cx="2190851" cy="4561388"/>
          </a:xfrm>
          <a:prstGeom prst="rect">
            <a:avLst/>
          </a:prstGeom>
          <a:solidFill>
            <a:schemeClr val="accent1">
              <a:alpha val="8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62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68518" y="474130"/>
            <a:ext cx="1098472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dirty="0">
                <a:solidFill>
                  <a:schemeClr val="tx2"/>
                </a:solidFill>
              </a:rPr>
              <a:t>Кто такой "Ведущий аналитик: профессионал в своем деле"</a:t>
            </a:r>
          </a:p>
        </p:txBody>
      </p:sp>
    </p:spTree>
    <p:extLst>
      <p:ext uri="{BB962C8B-B14F-4D97-AF65-F5344CB8AC3E}">
        <p14:creationId xmlns:p14="http://schemas.microsoft.com/office/powerpoint/2010/main" val="240562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0B1489C9-C511-4A41-8474-E01A59CDFB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001" y="1557551"/>
            <a:ext cx="5138736" cy="3731791"/>
          </a:xfrm>
        </p:spPr>
        <p:txBody>
          <a:bodyPr/>
          <a:lstStyle/>
          <a:p>
            <a:r>
              <a:rPr lang="ru-RU" dirty="0" smtClean="0"/>
              <a:t>Немного о терминах</a:t>
            </a:r>
          </a:p>
          <a:p>
            <a:r>
              <a:rPr lang="ru-RU" dirty="0" smtClean="0"/>
              <a:t>Области работы ведущего аналити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роизводство: проекты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оддержка продаж: </a:t>
            </a:r>
            <a:r>
              <a:rPr lang="ru-RU" dirty="0" err="1" smtClean="0"/>
              <a:t>пресейлы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Развитие направления</a:t>
            </a:r>
          </a:p>
          <a:p>
            <a:pPr marL="717750" lvl="1" indent="-285750"/>
            <a:r>
              <a:rPr lang="ru-RU" dirty="0" smtClean="0"/>
              <a:t>Процессы </a:t>
            </a:r>
            <a:r>
              <a:rPr lang="ru-RU" dirty="0"/>
              <a:t>производства</a:t>
            </a:r>
          </a:p>
          <a:p>
            <a:pPr marL="717750" lvl="1" indent="-285750"/>
            <a:r>
              <a:rPr lang="ru-RU" dirty="0"/>
              <a:t>Команда </a:t>
            </a:r>
            <a:r>
              <a:rPr lang="ru-RU" dirty="0" smtClean="0"/>
              <a:t>аналитиков</a:t>
            </a:r>
          </a:p>
          <a:p>
            <a:pPr marL="717750" lvl="1" indent="-285750"/>
            <a:r>
              <a:rPr lang="ru-RU" dirty="0" smtClean="0"/>
              <a:t>База знаний</a:t>
            </a:r>
          </a:p>
          <a:p>
            <a:r>
              <a:rPr lang="ru-RU" dirty="0" smtClean="0"/>
              <a:t>Взгляд со стороны (результаты опроса)</a:t>
            </a:r>
          </a:p>
          <a:p>
            <a:r>
              <a:rPr lang="ru-RU" dirty="0" smtClean="0"/>
              <a:t>Что делать дальше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3CF4773-A058-4F4D-839C-1A67E74DCC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974083" y="6401618"/>
            <a:ext cx="2654968" cy="200359"/>
          </a:xfrm>
        </p:spPr>
        <p:txBody>
          <a:bodyPr/>
          <a:lstStyle/>
          <a:p>
            <a:fld id="{C873F048-D532-42BD-AB62-653627250667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10176F80-BC47-4642-8CCF-9E4D107C7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001" y="474130"/>
            <a:ext cx="5815780" cy="443198"/>
          </a:xfrm>
        </p:spPr>
        <p:txBody>
          <a:bodyPr/>
          <a:lstStyle/>
          <a:p>
            <a:r>
              <a:rPr lang="ru-RU" dirty="0" smtClean="0"/>
              <a:t>О чем </a:t>
            </a:r>
            <a:r>
              <a:rPr lang="ru-RU" sz="3200" dirty="0" smtClean="0"/>
              <a:t>будем</a:t>
            </a:r>
            <a:r>
              <a:rPr lang="ru-RU" dirty="0" smtClean="0"/>
              <a:t> говорить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4B5658A-9BAF-8E41-9A0A-366361B5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22658" y="1557551"/>
            <a:ext cx="504781" cy="4060086"/>
          </a:xfrm>
        </p:spPr>
        <p:txBody>
          <a:bodyPr/>
          <a:lstStyle/>
          <a:p>
            <a:pPr>
              <a:spcBef>
                <a:spcPts val="800"/>
              </a:spcBef>
            </a:pPr>
            <a:r>
              <a:rPr lang="ru-RU" dirty="0" smtClean="0"/>
              <a:t>4</a:t>
            </a:r>
          </a:p>
          <a:p>
            <a:pPr>
              <a:spcBef>
                <a:spcPts val="800"/>
              </a:spcBef>
            </a:pPr>
            <a:r>
              <a:rPr lang="ru-RU" dirty="0"/>
              <a:t>5</a:t>
            </a:r>
            <a:endParaRPr lang="ru-RU" dirty="0" smtClean="0"/>
          </a:p>
          <a:p>
            <a:pPr>
              <a:spcBef>
                <a:spcPts val="800"/>
              </a:spcBef>
            </a:pPr>
            <a:r>
              <a:rPr lang="ru-RU" dirty="0" smtClean="0"/>
              <a:t>6</a:t>
            </a:r>
          </a:p>
          <a:p>
            <a:pPr>
              <a:spcBef>
                <a:spcPts val="800"/>
              </a:spcBef>
            </a:pPr>
            <a:r>
              <a:rPr lang="ru-RU" dirty="0" smtClean="0"/>
              <a:t>9</a:t>
            </a:r>
          </a:p>
          <a:p>
            <a:pPr>
              <a:spcBef>
                <a:spcPts val="800"/>
              </a:spcBef>
            </a:pPr>
            <a:endParaRPr lang="ru-RU" dirty="0"/>
          </a:p>
          <a:p>
            <a:pPr>
              <a:spcBef>
                <a:spcPts val="800"/>
              </a:spcBef>
            </a:pPr>
            <a:r>
              <a:rPr lang="ru-RU" dirty="0" smtClean="0"/>
              <a:t>10</a:t>
            </a:r>
          </a:p>
          <a:p>
            <a:pPr>
              <a:spcBef>
                <a:spcPts val="800"/>
              </a:spcBef>
            </a:pPr>
            <a:r>
              <a:rPr lang="ru-RU" dirty="0" smtClean="0"/>
              <a:t>11</a:t>
            </a:r>
          </a:p>
          <a:p>
            <a:pPr>
              <a:spcBef>
                <a:spcPts val="800"/>
              </a:spcBef>
            </a:pPr>
            <a:r>
              <a:rPr lang="ru-RU" dirty="0" smtClean="0"/>
              <a:t>12</a:t>
            </a:r>
          </a:p>
          <a:p>
            <a:pPr>
              <a:spcBef>
                <a:spcPts val="800"/>
              </a:spcBef>
            </a:pPr>
            <a:r>
              <a:rPr lang="ru-RU" dirty="0" smtClean="0"/>
              <a:t>15</a:t>
            </a:r>
          </a:p>
          <a:p>
            <a:pPr>
              <a:spcBef>
                <a:spcPts val="800"/>
              </a:spcBef>
            </a:pPr>
            <a:r>
              <a:rPr lang="ru-RU" dirty="0" smtClean="0"/>
              <a:t>20</a:t>
            </a:r>
          </a:p>
          <a:p>
            <a:pPr>
              <a:spcBef>
                <a:spcPts val="700"/>
              </a:spcBef>
            </a:pPr>
            <a:endParaRPr lang="ru-RU" dirty="0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73AF12C4-E7AE-BB4B-AB8F-5DC7B589C770}"/>
              </a:ext>
            </a:extLst>
          </p:cNvPr>
          <p:cNvGrpSpPr/>
          <p:nvPr/>
        </p:nvGrpSpPr>
        <p:grpSpPr>
          <a:xfrm rot="19628635">
            <a:off x="10510022" y="-2050132"/>
            <a:ext cx="3653428" cy="5728593"/>
            <a:chOff x="9434085" y="-232656"/>
            <a:chExt cx="3653428" cy="5728593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BC58D259-2311-454D-958F-CA23E710CE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3579208">
              <a:off x="8545605" y="954029"/>
              <a:ext cx="5728593" cy="3355223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C91449A6-9717-334A-B316-5555A3C69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100000">
              <a:off x="9430615" y="1551014"/>
              <a:ext cx="650885" cy="643945"/>
            </a:xfrm>
            <a:prstGeom prst="rect">
              <a:avLst/>
            </a:prstGeom>
          </p:spPr>
        </p:pic>
      </p:grp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AC13EE7D-D2A3-3F40-89A1-3418039E923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837" y="2875883"/>
            <a:ext cx="3188502" cy="3982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484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7DED360-8E30-0346-A883-A14E7A3B2A5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9" y="0"/>
            <a:ext cx="12180722" cy="6858000"/>
          </a:xfrm>
          <a:prstGeom prst="rect">
            <a:avLst/>
          </a:prstGeom>
        </p:spPr>
      </p:pic>
      <p:sp>
        <p:nvSpPr>
          <p:cNvPr id="28" name="Текст 27">
            <a:extLst>
              <a:ext uri="{FF2B5EF4-FFF2-40B4-BE49-F238E27FC236}">
                <a16:creationId xmlns:a16="http://schemas.microsoft.com/office/drawing/2014/main" id="{173067CB-1FA2-9A47-BDB2-4666406899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74300" y="3180775"/>
            <a:ext cx="5997568" cy="492443"/>
          </a:xfrm>
        </p:spPr>
        <p:txBody>
          <a:bodyPr/>
          <a:lstStyle/>
          <a:p>
            <a:r>
              <a:rPr lang="ru-RU" dirty="0" smtClean="0"/>
              <a:t>Что делать дальше?</a:t>
            </a:r>
            <a:endParaRPr lang="ru-RU" dirty="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3EC49DAF-D215-754F-8113-3DB075D130DB}"/>
              </a:ext>
            </a:extLst>
          </p:cNvPr>
          <p:cNvGrpSpPr/>
          <p:nvPr/>
        </p:nvGrpSpPr>
        <p:grpSpPr>
          <a:xfrm>
            <a:off x="-295153" y="4863776"/>
            <a:ext cx="13772912" cy="1792792"/>
            <a:chOff x="-150188" y="4802735"/>
            <a:chExt cx="13772912" cy="1792792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D8DFC6A0-6969-1347-8684-83D79E9E9DA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7018" y="4802736"/>
              <a:ext cx="1792791" cy="1792791"/>
            </a:xfrm>
            <a:prstGeom prst="rect">
              <a:avLst/>
            </a:prstGeom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3811C0EA-747A-3845-BA53-283E06689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105467" y="4802736"/>
              <a:ext cx="1792791" cy="1792791"/>
            </a:xfrm>
            <a:prstGeom prst="rect">
              <a:avLst/>
            </a:prstGeom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221B31B0-EAE8-0544-8CB6-1FB82312C0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8875430" y="4802736"/>
              <a:ext cx="397061" cy="1786775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D2546B2D-247F-CF42-9794-0C4F7E98F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46486" y="4802736"/>
              <a:ext cx="896396" cy="1792791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FF4170BE-8F11-E341-A343-D5229AE6A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10800000">
              <a:off x="4934589" y="5705148"/>
              <a:ext cx="896395" cy="890379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54934C66-90AF-2A4E-87DB-B7A72BF92F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5400000">
              <a:off x="10626784" y="4808259"/>
              <a:ext cx="896395" cy="890379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C5DE5528-DA82-3F40-9B12-C461BC51D3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8330474">
              <a:off x="-150188" y="4802735"/>
              <a:ext cx="397061" cy="1786775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F8036822-64A7-2C4F-A586-D543243810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829933" y="4802736"/>
              <a:ext cx="1792791" cy="1792791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201B0998-607F-6747-999F-46BBBFD09F97}"/>
              </a:ext>
            </a:extLst>
          </p:cNvPr>
          <p:cNvGrpSpPr/>
          <p:nvPr/>
        </p:nvGrpSpPr>
        <p:grpSpPr>
          <a:xfrm rot="10800000">
            <a:off x="-180753" y="2553688"/>
            <a:ext cx="13772912" cy="1792792"/>
            <a:chOff x="-150188" y="4802735"/>
            <a:chExt cx="13772912" cy="1792792"/>
          </a:xfrm>
        </p:grpSpPr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B0CF9449-E54A-4A43-B279-D19D8B4C3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7018" y="4802736"/>
              <a:ext cx="1792791" cy="1792791"/>
            </a:xfrm>
            <a:prstGeom prst="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CF57253F-8E4E-2B4B-9E0C-F428C39CA13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46486" y="4802736"/>
              <a:ext cx="896396" cy="1792791"/>
            </a:xfrm>
            <a:prstGeom prst="rect">
              <a:avLst/>
            </a:prstGeom>
          </p:spPr>
        </p:pic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61525A5E-D0C4-2F41-9D7E-1A33387FAA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5400000">
              <a:off x="10626784" y="4808259"/>
              <a:ext cx="896395" cy="890379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6F85AA0F-5914-3340-8439-D565B82A85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8330474">
              <a:off x="-150188" y="4802735"/>
              <a:ext cx="397061" cy="1786775"/>
            </a:xfrm>
            <a:prstGeom prst="rect">
              <a:avLst/>
            </a:prstGeom>
          </p:spPr>
        </p:pic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9D945280-6600-A74C-8CBE-26DF3CCED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829933" y="4802736"/>
              <a:ext cx="1792791" cy="1792791"/>
            </a:xfrm>
            <a:prstGeom prst="rect">
              <a:avLst/>
            </a:prstGeom>
          </p:spPr>
        </p:pic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2789D49-19CB-4747-A665-0D78956924A7}"/>
              </a:ext>
            </a:extLst>
          </p:cNvPr>
          <p:cNvGrpSpPr/>
          <p:nvPr/>
        </p:nvGrpSpPr>
        <p:grpSpPr>
          <a:xfrm>
            <a:off x="98036" y="202566"/>
            <a:ext cx="11900251" cy="1792792"/>
            <a:chOff x="-1932903" y="4802735"/>
            <a:chExt cx="11900251" cy="1792792"/>
          </a:xfrm>
        </p:grpSpPr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1FD86818-6818-AD4F-9225-EF8E36D33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7018" y="4802736"/>
              <a:ext cx="1792791" cy="1792791"/>
            </a:xfrm>
            <a:prstGeom prst="rect">
              <a:avLst/>
            </a:prstGeom>
          </p:spPr>
        </p:pic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55200867-4EFD-2543-9291-7823641CC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105467" y="4802736"/>
              <a:ext cx="1792791" cy="1792791"/>
            </a:xfrm>
            <a:prstGeom prst="rect">
              <a:avLst/>
            </a:prstGeom>
          </p:spPr>
        </p:pic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EFE02489-9EEC-954F-84B5-11EF49B67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8875430" y="4802736"/>
              <a:ext cx="397061" cy="1786775"/>
            </a:xfrm>
            <a:prstGeom prst="rect">
              <a:avLst/>
            </a:prstGeom>
          </p:spPr>
        </p:pic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E34E6523-381E-B94B-AEDB-E616CDADF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46486" y="4802736"/>
              <a:ext cx="896396" cy="1792791"/>
            </a:xfrm>
            <a:prstGeom prst="rect">
              <a:avLst/>
            </a:prstGeom>
          </p:spPr>
        </p:pic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9CABF1BB-5565-FC40-8A78-EBCDFFE4B5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10800000">
              <a:off x="4934589" y="5705148"/>
              <a:ext cx="896395" cy="890379"/>
            </a:xfrm>
            <a:prstGeom prst="rect">
              <a:avLst/>
            </a:prstGeom>
          </p:spPr>
        </p:pic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C4C8F4F6-7DE2-5641-AFDA-AA6EA58382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16200000">
              <a:off x="-1935911" y="5699130"/>
              <a:ext cx="896395" cy="890379"/>
            </a:xfrm>
            <a:prstGeom prst="rect">
              <a:avLst/>
            </a:prstGeom>
          </p:spPr>
        </p:pic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6B65DF61-516B-4540-8235-B4637064B8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8330474">
              <a:off x="-150188" y="4802735"/>
              <a:ext cx="397061" cy="1786775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002668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7EDB16D6-5A73-DD4A-ADE3-055DEF5BBAB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0EB9DD52-D23F-E248-8483-6BAD244896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t="54240" r="50259"/>
          <a:stretch/>
        </p:blipFill>
        <p:spPr>
          <a:xfrm>
            <a:off x="9673197" y="0"/>
            <a:ext cx="2518803" cy="2317217"/>
          </a:xfrm>
          <a:prstGeom prst="rect">
            <a:avLst/>
          </a:prstGeom>
        </p:spPr>
      </p:pic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29A27436-2221-6342-B9C8-B1CAFBDA02EF}"/>
              </a:ext>
            </a:extLst>
          </p:cNvPr>
          <p:cNvSpPr/>
          <p:nvPr/>
        </p:nvSpPr>
        <p:spPr>
          <a:xfrm>
            <a:off x="4379819" y="1361279"/>
            <a:ext cx="3244663" cy="1876205"/>
          </a:xfrm>
          <a:prstGeom prst="roundRect">
            <a:avLst>
              <a:gd name="adj" fmla="val 465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2700000" sx="102000" sy="102000" algn="tl" rotWithShape="0">
              <a:schemeClr val="accent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CCFA5E3A-9789-6841-A193-47CEA348DFE3}"/>
              </a:ext>
            </a:extLst>
          </p:cNvPr>
          <p:cNvSpPr/>
          <p:nvPr/>
        </p:nvSpPr>
        <p:spPr>
          <a:xfrm>
            <a:off x="8050866" y="1361279"/>
            <a:ext cx="3244663" cy="1876205"/>
          </a:xfrm>
          <a:prstGeom prst="roundRect">
            <a:avLst>
              <a:gd name="adj" fmla="val 465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2700000" sx="102000" sy="102000" algn="tl" rotWithShape="0">
              <a:schemeClr val="accent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3798B3FB-335D-EC4C-818A-02EE7312BD81}"/>
              </a:ext>
            </a:extLst>
          </p:cNvPr>
          <p:cNvSpPr/>
          <p:nvPr/>
        </p:nvSpPr>
        <p:spPr>
          <a:xfrm>
            <a:off x="695325" y="3570170"/>
            <a:ext cx="3244663" cy="1876205"/>
          </a:xfrm>
          <a:prstGeom prst="roundRect">
            <a:avLst>
              <a:gd name="adj" fmla="val 465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2700000" sx="102000" sy="102000" algn="tl" rotWithShape="0">
              <a:schemeClr val="accent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A96760C2-60BF-904F-AD8E-350F4531E28E}"/>
              </a:ext>
            </a:extLst>
          </p:cNvPr>
          <p:cNvSpPr/>
          <p:nvPr/>
        </p:nvSpPr>
        <p:spPr>
          <a:xfrm>
            <a:off x="4379819" y="3570170"/>
            <a:ext cx="3244663" cy="1876205"/>
          </a:xfrm>
          <a:prstGeom prst="roundRect">
            <a:avLst>
              <a:gd name="adj" fmla="val 465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2700000" sx="102000" sy="102000" algn="tl" rotWithShape="0">
              <a:schemeClr val="accent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8C68B42C-8F9E-2444-A67F-1E4E6F9AF7AF}"/>
              </a:ext>
            </a:extLst>
          </p:cNvPr>
          <p:cNvSpPr/>
          <p:nvPr/>
        </p:nvSpPr>
        <p:spPr>
          <a:xfrm>
            <a:off x="8050866" y="3570170"/>
            <a:ext cx="3244663" cy="1876205"/>
          </a:xfrm>
          <a:prstGeom prst="roundRect">
            <a:avLst>
              <a:gd name="adj" fmla="val 465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2700000" sx="102000" sy="102000" algn="tl" rotWithShape="0">
              <a:schemeClr val="accent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id="{525075F2-331B-8442-9B70-40E696241DF8}"/>
              </a:ext>
            </a:extLst>
          </p:cNvPr>
          <p:cNvSpPr/>
          <p:nvPr/>
        </p:nvSpPr>
        <p:spPr>
          <a:xfrm>
            <a:off x="695325" y="1361279"/>
            <a:ext cx="3244663" cy="1876205"/>
          </a:xfrm>
          <a:prstGeom prst="roundRect">
            <a:avLst>
              <a:gd name="adj" fmla="val 4655"/>
            </a:avLst>
          </a:prstGeom>
          <a:solidFill>
            <a:schemeClr val="bg1"/>
          </a:solidFill>
          <a:ln>
            <a:noFill/>
          </a:ln>
          <a:effectLst>
            <a:outerShdw blurRad="177800" dist="38100" dir="2700000" sx="102000" sy="102000" algn="tl" rotWithShape="0">
              <a:schemeClr val="accent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A3B93293-C148-C540-9961-B35E78DAAF4D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tx2"/>
                </a:solidFill>
              </a:rPr>
              <a:t>Что дальше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1B124E1-87CB-FE4C-AC1F-E29DBC919F25}"/>
              </a:ext>
            </a:extLst>
          </p:cNvPr>
          <p:cNvSpPr/>
          <p:nvPr/>
        </p:nvSpPr>
        <p:spPr>
          <a:xfrm>
            <a:off x="828596" y="2068857"/>
            <a:ext cx="31113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Определить, что уже классно получается</a:t>
            </a:r>
            <a:endParaRPr lang="ru-RU" sz="2000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9142F8D-45BE-BC44-A6AE-3D7BE89B885D}"/>
              </a:ext>
            </a:extLst>
          </p:cNvPr>
          <p:cNvSpPr/>
          <p:nvPr/>
        </p:nvSpPr>
        <p:spPr>
          <a:xfrm>
            <a:off x="4454367" y="4201619"/>
            <a:ext cx="309692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Начать радовать себя</a:t>
            </a:r>
            <a:endParaRPr lang="ru-RU" sz="2000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04B4D66-2A7D-9945-8E27-F7AC12479850}"/>
              </a:ext>
            </a:extLst>
          </p:cNvPr>
          <p:cNvSpPr/>
          <p:nvPr/>
        </p:nvSpPr>
        <p:spPr>
          <a:xfrm>
            <a:off x="8139873" y="2068857"/>
            <a:ext cx="30615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Составить план</a:t>
            </a:r>
            <a:endParaRPr lang="ru-RU" sz="2000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77ED681-EBAE-BC42-9DA6-8218BB221B9E}"/>
              </a:ext>
            </a:extLst>
          </p:cNvPr>
          <p:cNvSpPr/>
          <p:nvPr/>
        </p:nvSpPr>
        <p:spPr>
          <a:xfrm>
            <a:off x="828596" y="4201619"/>
            <a:ext cx="30704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Начать выполнять план</a:t>
            </a:r>
            <a:endParaRPr lang="ru-RU" sz="2000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816CAD4-F4CB-704E-AAB3-AB3A7BE089C1}"/>
              </a:ext>
            </a:extLst>
          </p:cNvPr>
          <p:cNvSpPr/>
          <p:nvPr/>
        </p:nvSpPr>
        <p:spPr>
          <a:xfrm>
            <a:off x="8139873" y="4201619"/>
            <a:ext cx="30615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Быть востребованным специалистом</a:t>
            </a:r>
            <a:endParaRPr lang="ru-RU" sz="2000" dirty="0"/>
          </a:p>
        </p:txBody>
      </p:sp>
      <p:sp>
        <p:nvSpPr>
          <p:cNvPr id="19" name="Заголовок 6">
            <a:extLst>
              <a:ext uri="{FF2B5EF4-FFF2-40B4-BE49-F238E27FC236}">
                <a16:creationId xmlns:a16="http://schemas.microsoft.com/office/drawing/2014/main" id="{C8C6BAA3-1383-BF4B-AE1D-70FC4ECA1F82}"/>
              </a:ext>
            </a:extLst>
          </p:cNvPr>
          <p:cNvSpPr txBox="1">
            <a:spLocks/>
          </p:cNvSpPr>
          <p:nvPr/>
        </p:nvSpPr>
        <p:spPr>
          <a:xfrm>
            <a:off x="928513" y="1470012"/>
            <a:ext cx="2249926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1</a:t>
            </a:r>
            <a:endParaRPr lang="ru-RU" dirty="0">
              <a:solidFill>
                <a:schemeClr val="accent1"/>
              </a:solidFill>
            </a:endParaRP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B9B2CD0-6CBF-1C43-A0BF-54607D9CB9E9}"/>
              </a:ext>
            </a:extLst>
          </p:cNvPr>
          <p:cNvCxnSpPr/>
          <p:nvPr/>
        </p:nvCxnSpPr>
        <p:spPr>
          <a:xfrm>
            <a:off x="909900" y="1931278"/>
            <a:ext cx="876767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Заголовок 6">
            <a:extLst>
              <a:ext uri="{FF2B5EF4-FFF2-40B4-BE49-F238E27FC236}">
                <a16:creationId xmlns:a16="http://schemas.microsoft.com/office/drawing/2014/main" id="{6901B3A4-E560-524B-B301-5F3541A8F0D6}"/>
              </a:ext>
            </a:extLst>
          </p:cNvPr>
          <p:cNvSpPr txBox="1">
            <a:spLocks/>
          </p:cNvSpPr>
          <p:nvPr/>
        </p:nvSpPr>
        <p:spPr>
          <a:xfrm>
            <a:off x="4559218" y="1470012"/>
            <a:ext cx="2249926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2</a:t>
            </a:r>
            <a:endParaRPr lang="ru-RU" dirty="0">
              <a:solidFill>
                <a:schemeClr val="accent1"/>
              </a:solidFill>
            </a:endParaRP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2B92F0A0-F45E-FD46-BF48-C84B96789105}"/>
              </a:ext>
            </a:extLst>
          </p:cNvPr>
          <p:cNvCxnSpPr/>
          <p:nvPr/>
        </p:nvCxnSpPr>
        <p:spPr>
          <a:xfrm>
            <a:off x="4540605" y="1931278"/>
            <a:ext cx="876767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Заголовок 6">
            <a:extLst>
              <a:ext uri="{FF2B5EF4-FFF2-40B4-BE49-F238E27FC236}">
                <a16:creationId xmlns:a16="http://schemas.microsoft.com/office/drawing/2014/main" id="{3145BC4D-6A27-1F4C-A04C-CA1447FEEB1D}"/>
              </a:ext>
            </a:extLst>
          </p:cNvPr>
          <p:cNvSpPr txBox="1">
            <a:spLocks/>
          </p:cNvSpPr>
          <p:nvPr/>
        </p:nvSpPr>
        <p:spPr>
          <a:xfrm>
            <a:off x="8230265" y="1470012"/>
            <a:ext cx="2249926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3</a:t>
            </a:r>
            <a:endParaRPr lang="ru-RU" dirty="0">
              <a:solidFill>
                <a:schemeClr val="accent1"/>
              </a:solidFill>
            </a:endParaRP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8259C87F-9AD9-EA47-BA1D-08B73DF40C3B}"/>
              </a:ext>
            </a:extLst>
          </p:cNvPr>
          <p:cNvCxnSpPr/>
          <p:nvPr/>
        </p:nvCxnSpPr>
        <p:spPr>
          <a:xfrm>
            <a:off x="8211652" y="1931278"/>
            <a:ext cx="876767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8BC49DC0-5D45-934D-A90F-F935E311C973}"/>
              </a:ext>
            </a:extLst>
          </p:cNvPr>
          <p:cNvCxnSpPr/>
          <p:nvPr/>
        </p:nvCxnSpPr>
        <p:spPr>
          <a:xfrm>
            <a:off x="909900" y="4157703"/>
            <a:ext cx="876767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Заголовок 6">
            <a:extLst>
              <a:ext uri="{FF2B5EF4-FFF2-40B4-BE49-F238E27FC236}">
                <a16:creationId xmlns:a16="http://schemas.microsoft.com/office/drawing/2014/main" id="{CF468A16-328F-EF4C-925B-85E0B383C120}"/>
              </a:ext>
            </a:extLst>
          </p:cNvPr>
          <p:cNvSpPr txBox="1">
            <a:spLocks/>
          </p:cNvSpPr>
          <p:nvPr/>
        </p:nvSpPr>
        <p:spPr>
          <a:xfrm>
            <a:off x="4559218" y="3696437"/>
            <a:ext cx="2249926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5</a:t>
            </a:r>
            <a:endParaRPr lang="ru-RU" dirty="0">
              <a:solidFill>
                <a:schemeClr val="accent1"/>
              </a:solidFill>
            </a:endParaRP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2BEC09C3-ADF0-BA4F-B539-B199AE509DEF}"/>
              </a:ext>
            </a:extLst>
          </p:cNvPr>
          <p:cNvCxnSpPr/>
          <p:nvPr/>
        </p:nvCxnSpPr>
        <p:spPr>
          <a:xfrm>
            <a:off x="4540605" y="4157703"/>
            <a:ext cx="876767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Заголовок 6">
            <a:extLst>
              <a:ext uri="{FF2B5EF4-FFF2-40B4-BE49-F238E27FC236}">
                <a16:creationId xmlns:a16="http://schemas.microsoft.com/office/drawing/2014/main" id="{E9DE92C1-9745-5D44-AE70-6642B0ABE6F3}"/>
              </a:ext>
            </a:extLst>
          </p:cNvPr>
          <p:cNvSpPr txBox="1">
            <a:spLocks/>
          </p:cNvSpPr>
          <p:nvPr/>
        </p:nvSpPr>
        <p:spPr>
          <a:xfrm>
            <a:off x="8230265" y="3696437"/>
            <a:ext cx="2249926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6</a:t>
            </a:r>
            <a:endParaRPr lang="ru-RU" dirty="0">
              <a:solidFill>
                <a:schemeClr val="accent1"/>
              </a:solidFill>
            </a:endParaRP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DDB8A86F-02AB-194C-A740-D0637E855723}"/>
              </a:ext>
            </a:extLst>
          </p:cNvPr>
          <p:cNvCxnSpPr/>
          <p:nvPr/>
        </p:nvCxnSpPr>
        <p:spPr>
          <a:xfrm>
            <a:off x="8211652" y="4157703"/>
            <a:ext cx="876767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Заголовок 6">
            <a:extLst>
              <a:ext uri="{FF2B5EF4-FFF2-40B4-BE49-F238E27FC236}">
                <a16:creationId xmlns:a16="http://schemas.microsoft.com/office/drawing/2014/main" id="{39BA4DA7-5AEF-8D45-9E8A-320AFA4B3E54}"/>
              </a:ext>
            </a:extLst>
          </p:cNvPr>
          <p:cNvSpPr txBox="1">
            <a:spLocks/>
          </p:cNvSpPr>
          <p:nvPr/>
        </p:nvSpPr>
        <p:spPr>
          <a:xfrm>
            <a:off x="928513" y="3696437"/>
            <a:ext cx="2249926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4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50" name="Рисунок 10">
            <a:extLst>
              <a:ext uri="{FF2B5EF4-FFF2-40B4-BE49-F238E27FC236}">
                <a16:creationId xmlns:a16="http://schemas.microsoft.com/office/drawing/2014/main" id="{1646A0AB-5A04-084A-B335-0A33DC929073}"/>
              </a:ext>
            </a:extLst>
          </p:cNvPr>
          <p:cNvSpPr>
            <a:spLocks noChangeAspect="1"/>
          </p:cNvSpPr>
          <p:nvPr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chemeClr val="accent1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  <p:sp>
        <p:nvSpPr>
          <p:cNvPr id="31" name="Прямоугольник 7">
            <a:extLst>
              <a:ext uri="{FF2B5EF4-FFF2-40B4-BE49-F238E27FC236}">
                <a16:creationId xmlns:a16="http://schemas.microsoft.com/office/drawing/2014/main" id="{01B124E1-87CB-FE4C-AC1F-E29DBC919F25}"/>
              </a:ext>
            </a:extLst>
          </p:cNvPr>
          <p:cNvSpPr/>
          <p:nvPr/>
        </p:nvSpPr>
        <p:spPr>
          <a:xfrm>
            <a:off x="4457057" y="2096566"/>
            <a:ext cx="31113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Определить, чему научиться</a:t>
            </a:r>
            <a:endParaRPr lang="ru-RU" sz="2000" dirty="0"/>
          </a:p>
        </p:txBody>
      </p:sp>
      <p:sp>
        <p:nvSpPr>
          <p:cNvPr id="51" name="Text Placeholder 2"/>
          <p:cNvSpPr txBox="1">
            <a:spLocks/>
          </p:cNvSpPr>
          <p:nvPr/>
        </p:nvSpPr>
        <p:spPr>
          <a:xfrm>
            <a:off x="5793176" y="2969739"/>
            <a:ext cx="5466054" cy="6181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Font typeface="Arial" panose="020B0604020202020204" pitchFamily="34" charset="0"/>
              <a:buNone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6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5EFF108-A971-9341-9B8F-79A7B115E51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2174"/>
          <a:stretch/>
        </p:blipFill>
        <p:spPr>
          <a:xfrm flipH="1">
            <a:off x="0" y="0"/>
            <a:ext cx="12192000" cy="6858000"/>
          </a:xfrm>
        </p:spPr>
      </p:pic>
      <p:sp>
        <p:nvSpPr>
          <p:cNvPr id="9" name="Полилиния 8">
            <a:extLst>
              <a:ext uri="{FF2B5EF4-FFF2-40B4-BE49-F238E27FC236}">
                <a16:creationId xmlns:a16="http://schemas.microsoft.com/office/drawing/2014/main" id="{762D7324-9B1B-7340-9D4A-34FB830CB240}"/>
              </a:ext>
            </a:extLst>
          </p:cNvPr>
          <p:cNvSpPr/>
          <p:nvPr/>
        </p:nvSpPr>
        <p:spPr>
          <a:xfrm>
            <a:off x="-1" y="0"/>
            <a:ext cx="5923723" cy="6858000"/>
          </a:xfrm>
          <a:custGeom>
            <a:avLst/>
            <a:gdLst>
              <a:gd name="connsiteX0" fmla="*/ 0 w 5531145"/>
              <a:gd name="connsiteY0" fmla="*/ 0 h 6858000"/>
              <a:gd name="connsiteX1" fmla="*/ 2012960 w 5531145"/>
              <a:gd name="connsiteY1" fmla="*/ 0 h 6858000"/>
              <a:gd name="connsiteX2" fmla="*/ 2967789 w 5531145"/>
              <a:gd name="connsiteY2" fmla="*/ 0 h 6858000"/>
              <a:gd name="connsiteX3" fmla="*/ 4960363 w 5531145"/>
              <a:gd name="connsiteY3" fmla="*/ 0 h 6858000"/>
              <a:gd name="connsiteX4" fmla="*/ 5531145 w 5531145"/>
              <a:gd name="connsiteY4" fmla="*/ 3425925 h 6858000"/>
              <a:gd name="connsiteX5" fmla="*/ 4958517 w 5531145"/>
              <a:gd name="connsiteY5" fmla="*/ 6858000 h 6858000"/>
              <a:gd name="connsiteX6" fmla="*/ 2967789 w 5531145"/>
              <a:gd name="connsiteY6" fmla="*/ 6858000 h 6858000"/>
              <a:gd name="connsiteX7" fmla="*/ 2012960 w 5531145"/>
              <a:gd name="connsiteY7" fmla="*/ 6858000 h 6858000"/>
              <a:gd name="connsiteX8" fmla="*/ 0 w 553114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31145" h="6858000">
                <a:moveTo>
                  <a:pt x="0" y="0"/>
                </a:moveTo>
                <a:lnTo>
                  <a:pt x="2012960" y="0"/>
                </a:lnTo>
                <a:lnTo>
                  <a:pt x="2967789" y="0"/>
                </a:lnTo>
                <a:lnTo>
                  <a:pt x="4960363" y="0"/>
                </a:lnTo>
                <a:cubicBezTo>
                  <a:pt x="5330633" y="1073908"/>
                  <a:pt x="5531145" y="2226544"/>
                  <a:pt x="5531145" y="3425925"/>
                </a:cubicBezTo>
                <a:cubicBezTo>
                  <a:pt x="5531145" y="4627766"/>
                  <a:pt x="5329403" y="5782247"/>
                  <a:pt x="4958517" y="6858000"/>
                </a:cubicBezTo>
                <a:lnTo>
                  <a:pt x="2967789" y="6858000"/>
                </a:lnTo>
                <a:lnTo>
                  <a:pt x="201296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614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8A1FCFDB-E3B9-F94F-9ABF-903B246678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515" y="2977476"/>
            <a:ext cx="4082252" cy="1292662"/>
          </a:xfrm>
        </p:spPr>
        <p:txBody>
          <a:bodyPr/>
          <a:lstStyle/>
          <a:p>
            <a:r>
              <a:rPr lang="ru-RU" sz="2800" b="0" dirty="0">
                <a:solidFill>
                  <a:schemeClr val="bg1"/>
                </a:solidFill>
              </a:rPr>
              <a:t>Я работаю аналитиком и хочу стать крутым ведущим </a:t>
            </a:r>
            <a:r>
              <a:rPr lang="ru-RU" sz="2800" b="0" dirty="0" smtClean="0">
                <a:solidFill>
                  <a:schemeClr val="bg1"/>
                </a:solidFill>
              </a:rPr>
              <a:t>специалистом</a:t>
            </a:r>
            <a:endParaRPr lang="ru-RU" sz="2800" b="0" dirty="0">
              <a:solidFill>
                <a:schemeClr val="bg1"/>
              </a:solidFill>
            </a:endParaRPr>
          </a:p>
        </p:txBody>
      </p:sp>
      <p:sp>
        <p:nvSpPr>
          <p:cNvPr id="12" name="Рисунок 10">
            <a:extLst>
              <a:ext uri="{FF2B5EF4-FFF2-40B4-BE49-F238E27FC236}">
                <a16:creationId xmlns:a16="http://schemas.microsoft.com/office/drawing/2014/main" id="{C80C4CB1-9CE7-8E4C-A432-86DAD52DA23B}"/>
              </a:ext>
            </a:extLst>
          </p:cNvPr>
          <p:cNvSpPr>
            <a:spLocks noChangeAspect="1"/>
          </p:cNvSpPr>
          <p:nvPr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chemeClr val="bg1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86001" y="474129"/>
            <a:ext cx="5067376" cy="127118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800" b="1" dirty="0" smtClean="0">
                <a:solidFill>
                  <a:schemeClr val="bg1"/>
                </a:solidFill>
              </a:rPr>
              <a:t>Возможные сценарии (1/2)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3910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5EFF108-A971-9341-9B8F-79A7B115E51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2174"/>
          <a:stretch/>
        </p:blipFill>
        <p:spPr>
          <a:xfrm flipH="1">
            <a:off x="0" y="0"/>
            <a:ext cx="12192000" cy="6858000"/>
          </a:xfrm>
        </p:spPr>
      </p:pic>
      <p:sp>
        <p:nvSpPr>
          <p:cNvPr id="7" name="Полилиния 8">
            <a:extLst>
              <a:ext uri="{FF2B5EF4-FFF2-40B4-BE49-F238E27FC236}">
                <a16:creationId xmlns:a16="http://schemas.microsoft.com/office/drawing/2014/main" id="{762D7324-9B1B-7340-9D4A-34FB830CB240}"/>
              </a:ext>
            </a:extLst>
          </p:cNvPr>
          <p:cNvSpPr/>
          <p:nvPr/>
        </p:nvSpPr>
        <p:spPr>
          <a:xfrm>
            <a:off x="-1" y="0"/>
            <a:ext cx="5923723" cy="6858000"/>
          </a:xfrm>
          <a:custGeom>
            <a:avLst/>
            <a:gdLst>
              <a:gd name="connsiteX0" fmla="*/ 0 w 5531145"/>
              <a:gd name="connsiteY0" fmla="*/ 0 h 6858000"/>
              <a:gd name="connsiteX1" fmla="*/ 2012960 w 5531145"/>
              <a:gd name="connsiteY1" fmla="*/ 0 h 6858000"/>
              <a:gd name="connsiteX2" fmla="*/ 2967789 w 5531145"/>
              <a:gd name="connsiteY2" fmla="*/ 0 h 6858000"/>
              <a:gd name="connsiteX3" fmla="*/ 4960363 w 5531145"/>
              <a:gd name="connsiteY3" fmla="*/ 0 h 6858000"/>
              <a:gd name="connsiteX4" fmla="*/ 5531145 w 5531145"/>
              <a:gd name="connsiteY4" fmla="*/ 3425925 h 6858000"/>
              <a:gd name="connsiteX5" fmla="*/ 4958517 w 5531145"/>
              <a:gd name="connsiteY5" fmla="*/ 6858000 h 6858000"/>
              <a:gd name="connsiteX6" fmla="*/ 2967789 w 5531145"/>
              <a:gd name="connsiteY6" fmla="*/ 6858000 h 6858000"/>
              <a:gd name="connsiteX7" fmla="*/ 2012960 w 5531145"/>
              <a:gd name="connsiteY7" fmla="*/ 6858000 h 6858000"/>
              <a:gd name="connsiteX8" fmla="*/ 0 w 553114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31145" h="6858000">
                <a:moveTo>
                  <a:pt x="0" y="0"/>
                </a:moveTo>
                <a:lnTo>
                  <a:pt x="2012960" y="0"/>
                </a:lnTo>
                <a:lnTo>
                  <a:pt x="2967789" y="0"/>
                </a:lnTo>
                <a:lnTo>
                  <a:pt x="4960363" y="0"/>
                </a:lnTo>
                <a:cubicBezTo>
                  <a:pt x="5330633" y="1073908"/>
                  <a:pt x="5531145" y="2226544"/>
                  <a:pt x="5531145" y="3425925"/>
                </a:cubicBezTo>
                <a:cubicBezTo>
                  <a:pt x="5531145" y="4627766"/>
                  <a:pt x="5329403" y="5782247"/>
                  <a:pt x="4958517" y="6858000"/>
                </a:cubicBezTo>
                <a:lnTo>
                  <a:pt x="2967789" y="6858000"/>
                </a:lnTo>
                <a:lnTo>
                  <a:pt x="201296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614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8A1FCFDB-E3B9-F94F-9ABF-903B246678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515" y="2977476"/>
            <a:ext cx="4082252" cy="1292662"/>
          </a:xfrm>
        </p:spPr>
        <p:txBody>
          <a:bodyPr/>
          <a:lstStyle/>
          <a:p>
            <a:r>
              <a:rPr lang="ru-RU" sz="2800" b="0" dirty="0">
                <a:solidFill>
                  <a:schemeClr val="bg1"/>
                </a:solidFill>
              </a:rPr>
              <a:t>Я работаю ведущим аналитиком, но не все компетенции развиты</a:t>
            </a:r>
          </a:p>
        </p:txBody>
      </p:sp>
      <p:sp>
        <p:nvSpPr>
          <p:cNvPr id="12" name="Рисунок 10">
            <a:extLst>
              <a:ext uri="{FF2B5EF4-FFF2-40B4-BE49-F238E27FC236}">
                <a16:creationId xmlns:a16="http://schemas.microsoft.com/office/drawing/2014/main" id="{C80C4CB1-9CE7-8E4C-A432-86DAD52DA23B}"/>
              </a:ext>
            </a:extLst>
          </p:cNvPr>
          <p:cNvSpPr>
            <a:spLocks noChangeAspect="1"/>
          </p:cNvSpPr>
          <p:nvPr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chemeClr val="bg1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86001" y="474130"/>
            <a:ext cx="5003766" cy="63507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800" b="1" dirty="0" smtClean="0">
                <a:solidFill>
                  <a:schemeClr val="bg1"/>
                </a:solidFill>
              </a:rPr>
              <a:t>Возможные сценарии (2/2)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89995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8">
            <a:extLst>
              <a:ext uri="{FF2B5EF4-FFF2-40B4-BE49-F238E27FC236}">
                <a16:creationId xmlns:a16="http://schemas.microsoft.com/office/drawing/2014/main" id="{3CB16FF3-0E2C-844B-ABCE-487822F967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75" t="794" r="9732" b="-794"/>
          <a:stretch/>
        </p:blipFill>
        <p:spPr>
          <a:xfrm>
            <a:off x="1415142" y="0"/>
            <a:ext cx="10776857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47F118-66FC-BE48-93F4-28945D1606A6}" type="slidenum">
              <a:rPr lang="ru-RU" smtClean="0"/>
              <a:pPr/>
              <a:t>24</a:t>
            </a:fld>
            <a:endParaRPr lang="ru-RU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  <p:sp>
        <p:nvSpPr>
          <p:cNvPr id="8" name="Рисунок 10">
            <a:extLst>
              <a:ext uri="{FF2B5EF4-FFF2-40B4-BE49-F238E27FC236}">
                <a16:creationId xmlns:a16="http://schemas.microsoft.com/office/drawing/2014/main" id="{C0344AB0-BA65-6C48-917F-7A28AB8FE210}"/>
              </a:ext>
            </a:extLst>
          </p:cNvPr>
          <p:cNvSpPr>
            <a:spLocks noChangeAspect="1"/>
          </p:cNvSpPr>
          <p:nvPr/>
        </p:nvSpPr>
        <p:spPr>
          <a:xfrm>
            <a:off x="587154" y="6422332"/>
            <a:ext cx="557698" cy="144000"/>
          </a:xfrm>
          <a:custGeom>
            <a:avLst/>
            <a:gdLst>
              <a:gd name="connsiteX0" fmla="*/ 336523 w 1360664"/>
              <a:gd name="connsiteY0" fmla="*/ 6698 h 351328"/>
              <a:gd name="connsiteX1" fmla="*/ 473765 w 1360664"/>
              <a:gd name="connsiteY1" fmla="*/ 6698 h 351328"/>
              <a:gd name="connsiteX2" fmla="*/ 622521 w 1360664"/>
              <a:gd name="connsiteY2" fmla="*/ 132659 h 351328"/>
              <a:gd name="connsiteX3" fmla="*/ 470005 w 1360664"/>
              <a:gd name="connsiteY3" fmla="*/ 260030 h 351328"/>
              <a:gd name="connsiteX4" fmla="*/ 415367 w 1360664"/>
              <a:gd name="connsiteY4" fmla="*/ 260030 h 351328"/>
              <a:gd name="connsiteX5" fmla="*/ 415367 w 1360664"/>
              <a:gd name="connsiteY5" fmla="*/ 347569 h 351328"/>
              <a:gd name="connsiteX6" fmla="*/ 336758 w 1360664"/>
              <a:gd name="connsiteY6" fmla="*/ 347569 h 351328"/>
              <a:gd name="connsiteX7" fmla="*/ 336758 w 1360664"/>
              <a:gd name="connsiteY7" fmla="*/ 6698 h 351328"/>
              <a:gd name="connsiteX8" fmla="*/ 336523 w 1360664"/>
              <a:gd name="connsiteY8" fmla="*/ 6698 h 351328"/>
              <a:gd name="connsiteX9" fmla="*/ 651192 w 1360664"/>
              <a:gd name="connsiteY9" fmla="*/ 176134 h 351328"/>
              <a:gd name="connsiteX10" fmla="*/ 829911 w 1360664"/>
              <a:gd name="connsiteY10" fmla="*/ 0 h 351328"/>
              <a:gd name="connsiteX11" fmla="*/ 1008748 w 1360664"/>
              <a:gd name="connsiteY11" fmla="*/ 176134 h 351328"/>
              <a:gd name="connsiteX12" fmla="*/ 829911 w 1360664"/>
              <a:gd name="connsiteY12" fmla="*/ 352269 h 351328"/>
              <a:gd name="connsiteX13" fmla="*/ 651192 w 1360664"/>
              <a:gd name="connsiteY13" fmla="*/ 176134 h 351328"/>
              <a:gd name="connsiteX14" fmla="*/ 651192 w 1360664"/>
              <a:gd name="connsiteY14" fmla="*/ 176134 h 351328"/>
              <a:gd name="connsiteX15" fmla="*/ 829911 w 1360664"/>
              <a:gd name="connsiteY15" fmla="*/ 279536 h 351328"/>
              <a:gd name="connsiteX16" fmla="*/ 731798 w 1360664"/>
              <a:gd name="connsiteY16" fmla="*/ 176252 h 351328"/>
              <a:gd name="connsiteX17" fmla="*/ 829911 w 1360664"/>
              <a:gd name="connsiteY17" fmla="*/ 72968 h 351328"/>
              <a:gd name="connsiteX18" fmla="*/ 928025 w 1360664"/>
              <a:gd name="connsiteY18" fmla="*/ 176252 h 351328"/>
              <a:gd name="connsiteX19" fmla="*/ 829911 w 1360664"/>
              <a:gd name="connsiteY19" fmla="*/ 279536 h 351328"/>
              <a:gd name="connsiteX20" fmla="*/ 829911 w 1360664"/>
              <a:gd name="connsiteY20" fmla="*/ 279536 h 351328"/>
              <a:gd name="connsiteX21" fmla="*/ 1140467 w 1360664"/>
              <a:gd name="connsiteY21" fmla="*/ 156277 h 351328"/>
              <a:gd name="connsiteX22" fmla="*/ 1263608 w 1360664"/>
              <a:gd name="connsiteY22" fmla="*/ 6698 h 351328"/>
              <a:gd name="connsiteX23" fmla="*/ 1355964 w 1360664"/>
              <a:gd name="connsiteY23" fmla="*/ 6698 h 351328"/>
              <a:gd name="connsiteX24" fmla="*/ 1217900 w 1360664"/>
              <a:gd name="connsiteY24" fmla="*/ 168262 h 351328"/>
              <a:gd name="connsiteX25" fmla="*/ 1361017 w 1360664"/>
              <a:gd name="connsiteY25" fmla="*/ 347569 h 351328"/>
              <a:gd name="connsiteX26" fmla="*/ 1261023 w 1360664"/>
              <a:gd name="connsiteY26" fmla="*/ 347569 h 351328"/>
              <a:gd name="connsiteX27" fmla="*/ 1140467 w 1360664"/>
              <a:gd name="connsiteY27" fmla="*/ 192115 h 351328"/>
              <a:gd name="connsiteX28" fmla="*/ 1140467 w 1360664"/>
              <a:gd name="connsiteY28" fmla="*/ 347451 h 351328"/>
              <a:gd name="connsiteX29" fmla="*/ 1061859 w 1360664"/>
              <a:gd name="connsiteY29" fmla="*/ 347451 h 351328"/>
              <a:gd name="connsiteX30" fmla="*/ 1061859 w 1360664"/>
              <a:gd name="connsiteY30" fmla="*/ 6698 h 351328"/>
              <a:gd name="connsiteX31" fmla="*/ 1140467 w 1360664"/>
              <a:gd name="connsiteY31" fmla="*/ 6698 h 351328"/>
              <a:gd name="connsiteX32" fmla="*/ 1140467 w 1360664"/>
              <a:gd name="connsiteY32" fmla="*/ 156277 h 351328"/>
              <a:gd name="connsiteX33" fmla="*/ 1140467 w 1360664"/>
              <a:gd name="connsiteY33" fmla="*/ 156277 h 351328"/>
              <a:gd name="connsiteX34" fmla="*/ 78608 w 1360664"/>
              <a:gd name="connsiteY34" fmla="*/ 156277 h 351328"/>
              <a:gd name="connsiteX35" fmla="*/ 201750 w 1360664"/>
              <a:gd name="connsiteY35" fmla="*/ 6698 h 351328"/>
              <a:gd name="connsiteX36" fmla="*/ 294106 w 1360664"/>
              <a:gd name="connsiteY36" fmla="*/ 6698 h 351328"/>
              <a:gd name="connsiteX37" fmla="*/ 156042 w 1360664"/>
              <a:gd name="connsiteY37" fmla="*/ 168262 h 351328"/>
              <a:gd name="connsiteX38" fmla="*/ 299158 w 1360664"/>
              <a:gd name="connsiteY38" fmla="*/ 347569 h 351328"/>
              <a:gd name="connsiteX39" fmla="*/ 199282 w 1360664"/>
              <a:gd name="connsiteY39" fmla="*/ 347569 h 351328"/>
              <a:gd name="connsiteX40" fmla="*/ 78608 w 1360664"/>
              <a:gd name="connsiteY40" fmla="*/ 192115 h 351328"/>
              <a:gd name="connsiteX41" fmla="*/ 78608 w 1360664"/>
              <a:gd name="connsiteY41" fmla="*/ 347451 h 351328"/>
              <a:gd name="connsiteX42" fmla="*/ 0 w 1360664"/>
              <a:gd name="connsiteY42" fmla="*/ 347451 h 351328"/>
              <a:gd name="connsiteX43" fmla="*/ 0 w 1360664"/>
              <a:gd name="connsiteY43" fmla="*/ 6698 h 351328"/>
              <a:gd name="connsiteX44" fmla="*/ 78608 w 1360664"/>
              <a:gd name="connsiteY44" fmla="*/ 6698 h 351328"/>
              <a:gd name="connsiteX45" fmla="*/ 78608 w 1360664"/>
              <a:gd name="connsiteY45" fmla="*/ 156277 h 351328"/>
              <a:gd name="connsiteX46" fmla="*/ 78608 w 1360664"/>
              <a:gd name="connsiteY46" fmla="*/ 156277 h 351328"/>
              <a:gd name="connsiteX47" fmla="*/ 415132 w 1360664"/>
              <a:gd name="connsiteY47" fmla="*/ 75671 h 351328"/>
              <a:gd name="connsiteX48" fmla="*/ 415132 w 1360664"/>
              <a:gd name="connsiteY48" fmla="*/ 192350 h 351328"/>
              <a:gd name="connsiteX49" fmla="*/ 462132 w 1360664"/>
              <a:gd name="connsiteY49" fmla="*/ 192350 h 351328"/>
              <a:gd name="connsiteX50" fmla="*/ 541681 w 1360664"/>
              <a:gd name="connsiteY50" fmla="*/ 132777 h 351328"/>
              <a:gd name="connsiteX51" fmla="*/ 466715 w 1360664"/>
              <a:gd name="connsiteY51" fmla="*/ 75553 h 351328"/>
              <a:gd name="connsiteX52" fmla="*/ 415132 w 1360664"/>
              <a:gd name="connsiteY52" fmla="*/ 75553 h 351328"/>
              <a:gd name="connsiteX53" fmla="*/ 415132 w 1360664"/>
              <a:gd name="connsiteY53" fmla="*/ 75671 h 35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360664" h="351328">
                <a:moveTo>
                  <a:pt x="336523" y="6698"/>
                </a:moveTo>
                <a:lnTo>
                  <a:pt x="473765" y="6698"/>
                </a:lnTo>
                <a:cubicBezTo>
                  <a:pt x="569763" y="6698"/>
                  <a:pt x="622521" y="58281"/>
                  <a:pt x="622521" y="132659"/>
                </a:cubicBezTo>
                <a:cubicBezTo>
                  <a:pt x="622521" y="207037"/>
                  <a:pt x="567648" y="260030"/>
                  <a:pt x="470005" y="260030"/>
                </a:cubicBezTo>
                <a:lnTo>
                  <a:pt x="415367" y="260030"/>
                </a:lnTo>
                <a:lnTo>
                  <a:pt x="415367" y="347569"/>
                </a:lnTo>
                <a:lnTo>
                  <a:pt x="336758" y="347569"/>
                </a:lnTo>
                <a:lnTo>
                  <a:pt x="336758" y="6698"/>
                </a:lnTo>
                <a:lnTo>
                  <a:pt x="336523" y="6698"/>
                </a:lnTo>
                <a:close/>
                <a:moveTo>
                  <a:pt x="651192" y="176134"/>
                </a:moveTo>
                <a:cubicBezTo>
                  <a:pt x="651192" y="70853"/>
                  <a:pt x="735088" y="0"/>
                  <a:pt x="829911" y="0"/>
                </a:cubicBezTo>
                <a:cubicBezTo>
                  <a:pt x="924735" y="0"/>
                  <a:pt x="1008748" y="67798"/>
                  <a:pt x="1008748" y="176134"/>
                </a:cubicBezTo>
                <a:cubicBezTo>
                  <a:pt x="1008748" y="284471"/>
                  <a:pt x="926850" y="352269"/>
                  <a:pt x="829911" y="352269"/>
                </a:cubicBezTo>
                <a:cubicBezTo>
                  <a:pt x="732973" y="352387"/>
                  <a:pt x="651192" y="281533"/>
                  <a:pt x="651192" y="176134"/>
                </a:cubicBezTo>
                <a:lnTo>
                  <a:pt x="651192" y="176134"/>
                </a:lnTo>
                <a:close/>
                <a:moveTo>
                  <a:pt x="829911" y="279536"/>
                </a:moveTo>
                <a:cubicBezTo>
                  <a:pt x="769750" y="279536"/>
                  <a:pt x="731798" y="232653"/>
                  <a:pt x="731798" y="176252"/>
                </a:cubicBezTo>
                <a:cubicBezTo>
                  <a:pt x="731798" y="119851"/>
                  <a:pt x="769398" y="72968"/>
                  <a:pt x="829911" y="72968"/>
                </a:cubicBezTo>
                <a:cubicBezTo>
                  <a:pt x="890424" y="72968"/>
                  <a:pt x="928025" y="119264"/>
                  <a:pt x="928025" y="176252"/>
                </a:cubicBezTo>
                <a:cubicBezTo>
                  <a:pt x="927907" y="233240"/>
                  <a:pt x="889954" y="279536"/>
                  <a:pt x="829911" y="279536"/>
                </a:cubicBezTo>
                <a:lnTo>
                  <a:pt x="829911" y="279536"/>
                </a:lnTo>
                <a:close/>
                <a:moveTo>
                  <a:pt x="1140467" y="156277"/>
                </a:moveTo>
                <a:lnTo>
                  <a:pt x="1263608" y="6698"/>
                </a:lnTo>
                <a:lnTo>
                  <a:pt x="1355964" y="6698"/>
                </a:lnTo>
                <a:lnTo>
                  <a:pt x="1217900" y="168262"/>
                </a:lnTo>
                <a:lnTo>
                  <a:pt x="1361017" y="347569"/>
                </a:lnTo>
                <a:lnTo>
                  <a:pt x="1261023" y="347569"/>
                </a:lnTo>
                <a:lnTo>
                  <a:pt x="1140467" y="192115"/>
                </a:lnTo>
                <a:lnTo>
                  <a:pt x="1140467" y="347451"/>
                </a:lnTo>
                <a:lnTo>
                  <a:pt x="1061859" y="347451"/>
                </a:lnTo>
                <a:lnTo>
                  <a:pt x="1061859" y="6698"/>
                </a:lnTo>
                <a:lnTo>
                  <a:pt x="1140467" y="6698"/>
                </a:lnTo>
                <a:lnTo>
                  <a:pt x="1140467" y="156277"/>
                </a:lnTo>
                <a:lnTo>
                  <a:pt x="1140467" y="156277"/>
                </a:lnTo>
                <a:close/>
                <a:moveTo>
                  <a:pt x="78608" y="156277"/>
                </a:moveTo>
                <a:lnTo>
                  <a:pt x="201750" y="6698"/>
                </a:lnTo>
                <a:lnTo>
                  <a:pt x="294106" y="6698"/>
                </a:lnTo>
                <a:lnTo>
                  <a:pt x="156042" y="168262"/>
                </a:lnTo>
                <a:lnTo>
                  <a:pt x="299158" y="347569"/>
                </a:lnTo>
                <a:lnTo>
                  <a:pt x="199282" y="347569"/>
                </a:lnTo>
                <a:lnTo>
                  <a:pt x="78608" y="192115"/>
                </a:lnTo>
                <a:lnTo>
                  <a:pt x="78608" y="347451"/>
                </a:lnTo>
                <a:lnTo>
                  <a:pt x="0" y="347451"/>
                </a:lnTo>
                <a:lnTo>
                  <a:pt x="0" y="6698"/>
                </a:lnTo>
                <a:lnTo>
                  <a:pt x="78608" y="6698"/>
                </a:lnTo>
                <a:lnTo>
                  <a:pt x="78608" y="156277"/>
                </a:lnTo>
                <a:lnTo>
                  <a:pt x="78608" y="156277"/>
                </a:lnTo>
                <a:close/>
                <a:moveTo>
                  <a:pt x="415132" y="75671"/>
                </a:moveTo>
                <a:lnTo>
                  <a:pt x="415132" y="192350"/>
                </a:lnTo>
                <a:lnTo>
                  <a:pt x="462132" y="192350"/>
                </a:lnTo>
                <a:cubicBezTo>
                  <a:pt x="518650" y="192350"/>
                  <a:pt x="541681" y="169437"/>
                  <a:pt x="541681" y="132777"/>
                </a:cubicBezTo>
                <a:cubicBezTo>
                  <a:pt x="541681" y="103636"/>
                  <a:pt x="522998" y="75553"/>
                  <a:pt x="466715" y="75553"/>
                </a:cubicBezTo>
                <a:lnTo>
                  <a:pt x="415132" y="75553"/>
                </a:lnTo>
                <a:lnTo>
                  <a:pt x="415132" y="75671"/>
                </a:lnTo>
                <a:close/>
              </a:path>
            </a:pathLst>
          </a:custGeom>
          <a:solidFill>
            <a:srgbClr val="00A460"/>
          </a:solidFill>
          <a:ln w="116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рямоугольник 12">
            <a:extLst>
              <a:ext uri="{FF2B5EF4-FFF2-40B4-BE49-F238E27FC236}">
                <a16:creationId xmlns:a16="http://schemas.microsoft.com/office/drawing/2014/main" id="{B8989339-5C41-4541-BC45-2A779468FF8D}"/>
              </a:ext>
            </a:extLst>
          </p:cNvPr>
          <p:cNvSpPr txBox="1"/>
          <p:nvPr/>
        </p:nvSpPr>
        <p:spPr>
          <a:xfrm>
            <a:off x="622290" y="4724811"/>
            <a:ext cx="351755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>
              <a:spcBef>
                <a:spcPts val="300"/>
              </a:spcBef>
              <a:defRPr sz="1600" b="1">
                <a:solidFill>
                  <a:srgbClr val="343436"/>
                </a:solidFill>
                <a:latin typeface="Croc"/>
                <a:ea typeface="Croc"/>
                <a:cs typeface="Croc"/>
                <a:sym typeface="Croc"/>
              </a:defRPr>
            </a:pPr>
            <a:r>
              <a:rPr lang="en-US" dirty="0" smtClean="0">
                <a:latin typeface="+mj-lt"/>
              </a:rPr>
              <a:t>QR</a:t>
            </a:r>
            <a:r>
              <a:rPr lang="ru-RU" dirty="0" smtClean="0">
                <a:latin typeface="+mj-lt"/>
              </a:rPr>
              <a:t> опроса по результатам доклада</a:t>
            </a:r>
            <a:endParaRPr lang="ru-RU" dirty="0">
              <a:latin typeface="+mj-l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63" y="1719103"/>
            <a:ext cx="3062512" cy="3062512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586000" y="474130"/>
            <a:ext cx="5818775" cy="63507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800" b="1" dirty="0" smtClean="0">
                <a:solidFill>
                  <a:srgbClr val="00A460"/>
                </a:solidFill>
              </a:rPr>
              <a:t>Ваши вопросы и ваше мнение</a:t>
            </a:r>
            <a:endParaRPr lang="ru-RU" sz="2800" b="1" dirty="0">
              <a:solidFill>
                <a:srgbClr val="00A460"/>
              </a:solidFill>
            </a:endParaRPr>
          </a:p>
        </p:txBody>
      </p:sp>
      <p:sp>
        <p:nvSpPr>
          <p:cNvPr id="12" name="Прямоугольник 12">
            <a:extLst>
              <a:ext uri="{FF2B5EF4-FFF2-40B4-BE49-F238E27FC236}">
                <a16:creationId xmlns:a16="http://schemas.microsoft.com/office/drawing/2014/main" id="{B8989339-5C41-4541-BC45-2A779468FF8D}"/>
              </a:ext>
            </a:extLst>
          </p:cNvPr>
          <p:cNvSpPr txBox="1"/>
          <p:nvPr/>
        </p:nvSpPr>
        <p:spPr>
          <a:xfrm>
            <a:off x="4907378" y="2734833"/>
            <a:ext cx="3698240" cy="10310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>
              <a:spcBef>
                <a:spcPts val="300"/>
              </a:spcBef>
              <a:defRPr sz="1600" b="1">
                <a:solidFill>
                  <a:srgbClr val="343436"/>
                </a:solidFill>
                <a:latin typeface="Croc"/>
                <a:ea typeface="Croc"/>
                <a:cs typeface="Croc"/>
                <a:sym typeface="Croc"/>
              </a:defRPr>
            </a:pPr>
            <a:r>
              <a:rPr lang="ru-RU" sz="2400" dirty="0" smtClean="0">
                <a:latin typeface="+mj-lt"/>
              </a:rPr>
              <a:t>Анна Трофимова</a:t>
            </a:r>
            <a:endParaRPr lang="ru-RU" sz="2400" dirty="0">
              <a:latin typeface="+mj-lt"/>
            </a:endParaRPr>
          </a:p>
          <a:p>
            <a:pPr>
              <a:spcBef>
                <a:spcPts val="300"/>
              </a:spcBef>
              <a:defRPr sz="1400">
                <a:solidFill>
                  <a:srgbClr val="343436"/>
                </a:solidFill>
                <a:latin typeface="Croc Light"/>
                <a:ea typeface="Croc Light"/>
                <a:cs typeface="Croc Light"/>
                <a:sym typeface="Croc Light"/>
              </a:defRPr>
            </a:pPr>
            <a:r>
              <a:rPr lang="en-US" sz="1600" dirty="0" smtClean="0">
                <a:latin typeface="+mj-lt"/>
              </a:rPr>
              <a:t>antrofimova@croc.ru</a:t>
            </a:r>
            <a:endParaRPr lang="ru-RU" sz="1600" dirty="0">
              <a:latin typeface="+mj-lt"/>
            </a:endParaRPr>
          </a:p>
          <a:p>
            <a:pPr>
              <a:spcBef>
                <a:spcPts val="300"/>
              </a:spcBef>
              <a:defRPr sz="1400">
                <a:solidFill>
                  <a:srgbClr val="343436"/>
                </a:solidFill>
                <a:latin typeface="Croc Light"/>
                <a:ea typeface="Croc Light"/>
                <a:cs typeface="Croc Light"/>
                <a:sym typeface="Croc Light"/>
              </a:defRPr>
            </a:pPr>
            <a:r>
              <a:rPr lang="en-US" sz="1600" dirty="0" smtClean="0">
                <a:latin typeface="+mj-lt"/>
              </a:rPr>
              <a:t>telegram @</a:t>
            </a:r>
            <a:r>
              <a:rPr lang="en-US" sz="1600" dirty="0" err="1" smtClean="0">
                <a:latin typeface="+mj-lt"/>
              </a:rPr>
              <a:t>annavictr</a:t>
            </a:r>
            <a:endParaRPr lang="ru-RU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81376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42BFDA1-F0F9-644E-89FB-BD95B6B0B8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r="25164" b="40673"/>
          <a:stretch/>
        </p:blipFill>
        <p:spPr>
          <a:xfrm rot="16200000">
            <a:off x="10062016" y="-660118"/>
            <a:ext cx="3518182" cy="2789061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5036B0A-4510-324E-A325-9D22912F8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бе будет интересно, если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7E19870-0185-0941-82BC-9A6125DBB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7126" y="1413124"/>
            <a:ext cx="5818044" cy="3607019"/>
          </a:xfrm>
        </p:spPr>
        <p:txBody>
          <a:bodyPr/>
          <a:lstStyle/>
          <a:p>
            <a:pPr lvl="0">
              <a:spcBef>
                <a:spcPts val="1800"/>
              </a:spcBef>
              <a:spcAft>
                <a:spcPts val="1800"/>
              </a:spcAft>
            </a:pPr>
            <a:r>
              <a:rPr lang="ru-RU" sz="2000" dirty="0" smtClean="0"/>
              <a:t>У </a:t>
            </a:r>
            <a:r>
              <a:rPr lang="ru-RU" sz="2000" dirty="0"/>
              <a:t>тебя есть опыт </a:t>
            </a:r>
            <a:r>
              <a:rPr lang="ru-RU" sz="2000" dirty="0" smtClean="0"/>
              <a:t>участия в ИТ-проектах</a:t>
            </a:r>
            <a:endParaRPr lang="ru-RU" sz="2000" dirty="0"/>
          </a:p>
          <a:p>
            <a:pPr lvl="0">
              <a:spcBef>
                <a:spcPts val="1800"/>
              </a:spcBef>
              <a:spcAft>
                <a:spcPts val="1800"/>
              </a:spcAft>
            </a:pPr>
            <a:r>
              <a:rPr lang="ru-RU" sz="2000" dirty="0"/>
              <a:t>Внедряешь </a:t>
            </a:r>
            <a:r>
              <a:rPr lang="ru-RU" sz="2000" dirty="0" smtClean="0"/>
              <a:t>кастомизированные и «коробочные</a:t>
            </a:r>
            <a:r>
              <a:rPr lang="ru-RU" sz="2000" dirty="0"/>
              <a:t>» решения </a:t>
            </a:r>
            <a:endParaRPr lang="ru-RU" sz="2000" dirty="0" smtClean="0"/>
          </a:p>
          <a:p>
            <a:pPr lvl="0">
              <a:spcBef>
                <a:spcPts val="1800"/>
              </a:spcBef>
              <a:spcAft>
                <a:spcPts val="1800"/>
              </a:spcAft>
            </a:pPr>
            <a:r>
              <a:rPr lang="ru-RU" sz="2000" dirty="0" smtClean="0"/>
              <a:t>Выполняешь </a:t>
            </a:r>
            <a:r>
              <a:rPr lang="ru-RU" sz="2000" dirty="0"/>
              <a:t>проекты для внешнего Заказчика и переходишь к следующему </a:t>
            </a:r>
            <a:r>
              <a:rPr lang="ru-RU" sz="2000" dirty="0" smtClean="0"/>
              <a:t>клиенту</a:t>
            </a:r>
          </a:p>
          <a:p>
            <a:pPr>
              <a:spcBef>
                <a:spcPts val="1800"/>
              </a:spcBef>
              <a:spcAft>
                <a:spcPts val="1800"/>
              </a:spcAft>
            </a:pPr>
            <a:r>
              <a:rPr lang="ru-RU" sz="2000" dirty="0"/>
              <a:t>Хочешь </a:t>
            </a:r>
            <a:r>
              <a:rPr lang="ru-RU" sz="2000" dirty="0" smtClean="0"/>
              <a:t>узнать, умение выполнять какие задачи делает ведущего </a:t>
            </a:r>
            <a:r>
              <a:rPr lang="ru-RU" sz="2000" dirty="0"/>
              <a:t>аналитика </a:t>
            </a:r>
            <a:r>
              <a:rPr lang="ru-RU" sz="2000" dirty="0" smtClean="0"/>
              <a:t>востребованным</a:t>
            </a:r>
            <a:endParaRPr lang="en-US" sz="20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F652BC1-9FF8-3D4D-A8BD-45E1B19DEC2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873F048-D532-42BD-AB62-653627250667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6BE7184-6B51-9544-8CD5-73410A4F7F6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rcRect r="37281" b="60159"/>
          <a:stretch/>
        </p:blipFill>
        <p:spPr>
          <a:xfrm flipH="1">
            <a:off x="-2" y="5369946"/>
            <a:ext cx="6339091" cy="1488054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8D5BF0A-2730-1E42-B145-F9C3B1500755}"/>
              </a:ext>
            </a:extLst>
          </p:cNvPr>
          <p:cNvSpPr/>
          <p:nvPr/>
        </p:nvSpPr>
        <p:spPr>
          <a:xfrm>
            <a:off x="7866530" y="1341438"/>
            <a:ext cx="3738096" cy="30230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Текст 61">
            <a:extLst>
              <a:ext uri="{FF2B5EF4-FFF2-40B4-BE49-F238E27FC236}">
                <a16:creationId xmlns:a16="http://schemas.microsoft.com/office/drawing/2014/main" id="{B64B136F-BF7D-B44F-8999-EC0974A3CD56}"/>
              </a:ext>
            </a:extLst>
          </p:cNvPr>
          <p:cNvSpPr txBox="1">
            <a:spLocks/>
          </p:cNvSpPr>
          <p:nvPr/>
        </p:nvSpPr>
        <p:spPr>
          <a:xfrm>
            <a:off x="8210455" y="1627829"/>
            <a:ext cx="3050245" cy="33919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800" b="1" kern="1200" dirty="0">
                <a:solidFill>
                  <a:schemeClr val="bg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/>
              <a:t>А также</a:t>
            </a:r>
            <a:endParaRPr lang="en-US" sz="2800" dirty="0"/>
          </a:p>
        </p:txBody>
      </p:sp>
      <p:sp>
        <p:nvSpPr>
          <p:cNvPr id="19" name="Текст 61">
            <a:extLst>
              <a:ext uri="{FF2B5EF4-FFF2-40B4-BE49-F238E27FC236}">
                <a16:creationId xmlns:a16="http://schemas.microsoft.com/office/drawing/2014/main" id="{CA33C21A-11DF-D74A-A44D-383B2F14F2F4}"/>
              </a:ext>
            </a:extLst>
          </p:cNvPr>
          <p:cNvSpPr txBox="1">
            <a:spLocks/>
          </p:cNvSpPr>
          <p:nvPr/>
        </p:nvSpPr>
        <p:spPr>
          <a:xfrm>
            <a:off x="7895591" y="2302164"/>
            <a:ext cx="3678580" cy="18517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800" kern="1200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200"/>
              </a:spcBef>
            </a:pPr>
            <a:r>
              <a:rPr lang="ru-RU" sz="2400" dirty="0" smtClean="0"/>
              <a:t>Будет здорово услышать мнение аудитории по данной теме в блоке вопросов-ответов</a:t>
            </a:r>
            <a:endParaRPr lang="en-US" sz="2400" dirty="0"/>
          </a:p>
          <a:p>
            <a:pPr>
              <a:spcBef>
                <a:spcPts val="2200"/>
              </a:spcBef>
            </a:pPr>
            <a:endParaRPr lang="en-US" sz="2400" dirty="0"/>
          </a:p>
        </p:txBody>
      </p:sp>
      <p:pic>
        <p:nvPicPr>
          <p:cNvPr id="16" name="Рисунок 393">
            <a:extLst>
              <a:ext uri="{FF2B5EF4-FFF2-40B4-BE49-F238E27FC236}">
                <a16:creationId xmlns:a16="http://schemas.microsoft.com/office/drawing/2014/main" id="{F010ED70-1E09-184D-B3E1-B8A04A56012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27"/>
              </a:ext>
            </a:extLst>
          </a:blip>
          <a:srcRect l="17756" t="16818" r="17756" b="16818"/>
          <a:stretch/>
        </p:blipFill>
        <p:spPr>
          <a:xfrm>
            <a:off x="547737" y="3160020"/>
            <a:ext cx="791750" cy="814772"/>
          </a:xfrm>
          <a:prstGeom prst="rect">
            <a:avLst/>
          </a:prstGeom>
        </p:spPr>
      </p:pic>
      <p:pic>
        <p:nvPicPr>
          <p:cNvPr id="20" name="Рисунок 74">
            <a:extLst>
              <a:ext uri="{FF2B5EF4-FFF2-40B4-BE49-F238E27FC236}">
                <a16:creationId xmlns:a16="http://schemas.microsoft.com/office/drawing/2014/main" id="{DCB5D481-4CBF-0E41-ADC7-0A37EF1E0A99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469224" y="1172226"/>
            <a:ext cx="948779" cy="866276"/>
          </a:xfrm>
          <a:prstGeom prst="rect">
            <a:avLst/>
          </a:prstGeom>
        </p:spPr>
      </p:pic>
      <p:pic>
        <p:nvPicPr>
          <p:cNvPr id="21" name="Рисунок 478">
            <a:extLst>
              <a:ext uri="{FF2B5EF4-FFF2-40B4-BE49-F238E27FC236}">
                <a16:creationId xmlns:a16="http://schemas.microsoft.com/office/drawing/2014/main" id="{BCCFF2BB-699B-FA46-8947-93B397D6156A}"/>
              </a:ext>
            </a:extLst>
          </p:cNvPr>
          <p:cNvPicPr>
            <a:picLocks noChangeAspect="1"/>
          </p:cNvPicPr>
          <p:nvPr/>
        </p:nvPicPr>
        <p:blipFill>
          <a:blip r:embed="rId13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377821" y="2156913"/>
            <a:ext cx="1015073" cy="884696"/>
          </a:xfrm>
          <a:prstGeom prst="rect">
            <a:avLst/>
          </a:prstGeom>
        </p:spPr>
      </p:pic>
      <p:sp>
        <p:nvSpPr>
          <p:cNvPr id="13" name="Полилиния 128">
            <a:extLst>
              <a:ext uri="{FF2B5EF4-FFF2-40B4-BE49-F238E27FC236}">
                <a16:creationId xmlns:a16="http://schemas.microsoft.com/office/drawing/2014/main" id="{798F86F8-F715-1044-BE11-55E6BBD31CC9}"/>
              </a:ext>
            </a:extLst>
          </p:cNvPr>
          <p:cNvSpPr/>
          <p:nvPr/>
        </p:nvSpPr>
        <p:spPr>
          <a:xfrm>
            <a:off x="576986" y="4238905"/>
            <a:ext cx="733253" cy="733531"/>
          </a:xfrm>
          <a:custGeom>
            <a:avLst/>
            <a:gdLst>
              <a:gd name="connsiteX0" fmla="*/ 252721 w 391032"/>
              <a:gd name="connsiteY0" fmla="*/ 296179 h 391180"/>
              <a:gd name="connsiteX1" fmla="*/ 254118 w 391032"/>
              <a:gd name="connsiteY1" fmla="*/ 305959 h 391180"/>
              <a:gd name="connsiteX2" fmla="*/ 219191 w 391032"/>
              <a:gd name="connsiteY2" fmla="*/ 347871 h 391180"/>
              <a:gd name="connsiteX3" fmla="*/ 205220 w 391032"/>
              <a:gd name="connsiteY3" fmla="*/ 333900 h 391180"/>
              <a:gd name="connsiteX4" fmla="*/ 194044 w 391032"/>
              <a:gd name="connsiteY4" fmla="*/ 319930 h 391180"/>
              <a:gd name="connsiteX5" fmla="*/ 192647 w 391032"/>
              <a:gd name="connsiteY5" fmla="*/ 319930 h 391180"/>
              <a:gd name="connsiteX6" fmla="*/ 182867 w 391032"/>
              <a:gd name="connsiteY6" fmla="*/ 332504 h 391180"/>
              <a:gd name="connsiteX7" fmla="*/ 167499 w 391032"/>
              <a:gd name="connsiteY7" fmla="*/ 346474 h 391180"/>
              <a:gd name="connsiteX8" fmla="*/ 129777 w 391032"/>
              <a:gd name="connsiteY8" fmla="*/ 307356 h 391180"/>
              <a:gd name="connsiteX9" fmla="*/ 131174 w 391032"/>
              <a:gd name="connsiteY9" fmla="*/ 297576 h 391180"/>
              <a:gd name="connsiteX10" fmla="*/ 140954 w 391032"/>
              <a:gd name="connsiteY10" fmla="*/ 298973 h 391180"/>
              <a:gd name="connsiteX11" fmla="*/ 167499 w 391032"/>
              <a:gd name="connsiteY11" fmla="*/ 328312 h 391180"/>
              <a:gd name="connsiteX12" fmla="*/ 171690 w 391032"/>
              <a:gd name="connsiteY12" fmla="*/ 322724 h 391180"/>
              <a:gd name="connsiteX13" fmla="*/ 189852 w 391032"/>
              <a:gd name="connsiteY13" fmla="*/ 305959 h 391180"/>
              <a:gd name="connsiteX14" fmla="*/ 196838 w 391032"/>
              <a:gd name="connsiteY14" fmla="*/ 305959 h 391180"/>
              <a:gd name="connsiteX15" fmla="*/ 216397 w 391032"/>
              <a:gd name="connsiteY15" fmla="*/ 325518 h 391180"/>
              <a:gd name="connsiteX16" fmla="*/ 219191 w 391032"/>
              <a:gd name="connsiteY16" fmla="*/ 329709 h 391180"/>
              <a:gd name="connsiteX17" fmla="*/ 242941 w 391032"/>
              <a:gd name="connsiteY17" fmla="*/ 297576 h 391180"/>
              <a:gd name="connsiteX18" fmla="*/ 252721 w 391032"/>
              <a:gd name="connsiteY18" fmla="*/ 296179 h 391180"/>
              <a:gd name="connsiteX19" fmla="*/ 218143 w 391032"/>
              <a:gd name="connsiteY19" fmla="*/ 246583 h 391180"/>
              <a:gd name="connsiteX20" fmla="*/ 221984 w 391032"/>
              <a:gd name="connsiteY20" fmla="*/ 250076 h 391180"/>
              <a:gd name="connsiteX21" fmla="*/ 219191 w 391032"/>
              <a:gd name="connsiteY21" fmla="*/ 259856 h 391180"/>
              <a:gd name="connsiteX22" fmla="*/ 195440 w 391032"/>
              <a:gd name="connsiteY22" fmla="*/ 265444 h 391180"/>
              <a:gd name="connsiteX23" fmla="*/ 170292 w 391032"/>
              <a:gd name="connsiteY23" fmla="*/ 259856 h 391180"/>
              <a:gd name="connsiteX24" fmla="*/ 167498 w 391032"/>
              <a:gd name="connsiteY24" fmla="*/ 250076 h 391180"/>
              <a:gd name="connsiteX25" fmla="*/ 177278 w 391032"/>
              <a:gd name="connsiteY25" fmla="*/ 247281 h 391180"/>
              <a:gd name="connsiteX26" fmla="*/ 212205 w 391032"/>
              <a:gd name="connsiteY26" fmla="*/ 247281 h 391180"/>
              <a:gd name="connsiteX27" fmla="*/ 218143 w 391032"/>
              <a:gd name="connsiteY27" fmla="*/ 246583 h 391180"/>
              <a:gd name="connsiteX28" fmla="*/ 191250 w 391032"/>
              <a:gd name="connsiteY28" fmla="*/ 13971 h 391180"/>
              <a:gd name="connsiteX29" fmla="*/ 135367 w 391032"/>
              <a:gd name="connsiteY29" fmla="*/ 30736 h 391180"/>
              <a:gd name="connsiteX30" fmla="*/ 96249 w 391032"/>
              <a:gd name="connsiteY30" fmla="*/ 76839 h 391180"/>
              <a:gd name="connsiteX31" fmla="*/ 94852 w 391032"/>
              <a:gd name="connsiteY31" fmla="*/ 93604 h 391180"/>
              <a:gd name="connsiteX32" fmla="*/ 97646 w 391032"/>
              <a:gd name="connsiteY32" fmla="*/ 124339 h 391180"/>
              <a:gd name="connsiteX33" fmla="*/ 99043 w 391032"/>
              <a:gd name="connsiteY33" fmla="*/ 127133 h 391180"/>
              <a:gd name="connsiteX34" fmla="*/ 104631 w 391032"/>
              <a:gd name="connsiteY34" fmla="*/ 113163 h 391180"/>
              <a:gd name="connsiteX35" fmla="*/ 107426 w 391032"/>
              <a:gd name="connsiteY35" fmla="*/ 110368 h 391180"/>
              <a:gd name="connsiteX36" fmla="*/ 154926 w 391032"/>
              <a:gd name="connsiteY36" fmla="*/ 99192 h 391180"/>
              <a:gd name="connsiteX37" fmla="*/ 182868 w 391032"/>
              <a:gd name="connsiteY37" fmla="*/ 93604 h 391180"/>
              <a:gd name="connsiteX38" fmla="*/ 199633 w 391032"/>
              <a:gd name="connsiteY38" fmla="*/ 89413 h 391180"/>
              <a:gd name="connsiteX39" fmla="*/ 234560 w 391032"/>
              <a:gd name="connsiteY39" fmla="*/ 68457 h 391180"/>
              <a:gd name="connsiteX40" fmla="*/ 241545 w 391032"/>
              <a:gd name="connsiteY40" fmla="*/ 67059 h 391180"/>
              <a:gd name="connsiteX41" fmla="*/ 245736 w 391032"/>
              <a:gd name="connsiteY41" fmla="*/ 71251 h 391180"/>
              <a:gd name="connsiteX42" fmla="*/ 258310 w 391032"/>
              <a:gd name="connsiteY42" fmla="*/ 92207 h 391180"/>
              <a:gd name="connsiteX43" fmla="*/ 287649 w 391032"/>
              <a:gd name="connsiteY43" fmla="*/ 111766 h 391180"/>
              <a:gd name="connsiteX44" fmla="*/ 289046 w 391032"/>
              <a:gd name="connsiteY44" fmla="*/ 113163 h 391180"/>
              <a:gd name="connsiteX45" fmla="*/ 290442 w 391032"/>
              <a:gd name="connsiteY45" fmla="*/ 57280 h 391180"/>
              <a:gd name="connsiteX46" fmla="*/ 258310 w 391032"/>
              <a:gd name="connsiteY46" fmla="*/ 34926 h 391180"/>
              <a:gd name="connsiteX47" fmla="*/ 251325 w 391032"/>
              <a:gd name="connsiteY47" fmla="*/ 34926 h 391180"/>
              <a:gd name="connsiteX48" fmla="*/ 244340 w 391032"/>
              <a:gd name="connsiteY48" fmla="*/ 32133 h 391180"/>
              <a:gd name="connsiteX49" fmla="*/ 192648 w 391032"/>
              <a:gd name="connsiteY49" fmla="*/ 13971 h 391180"/>
              <a:gd name="connsiteX50" fmla="*/ 191250 w 391032"/>
              <a:gd name="connsiteY50" fmla="*/ 0 h 391180"/>
              <a:gd name="connsiteX51" fmla="*/ 192648 w 391032"/>
              <a:gd name="connsiteY51" fmla="*/ 0 h 391180"/>
              <a:gd name="connsiteX52" fmla="*/ 254119 w 391032"/>
              <a:gd name="connsiteY52" fmla="*/ 22353 h 391180"/>
              <a:gd name="connsiteX53" fmla="*/ 258310 w 391032"/>
              <a:gd name="connsiteY53" fmla="*/ 22353 h 391180"/>
              <a:gd name="connsiteX54" fmla="*/ 303016 w 391032"/>
              <a:gd name="connsiteY54" fmla="*/ 51692 h 391180"/>
              <a:gd name="connsiteX55" fmla="*/ 293237 w 391032"/>
              <a:gd name="connsiteY55" fmla="*/ 136913 h 391180"/>
              <a:gd name="connsiteX56" fmla="*/ 303016 w 391032"/>
              <a:gd name="connsiteY56" fmla="*/ 145295 h 391180"/>
              <a:gd name="connsiteX57" fmla="*/ 304413 w 391032"/>
              <a:gd name="connsiteY57" fmla="*/ 174634 h 391180"/>
              <a:gd name="connsiteX58" fmla="*/ 276472 w 391032"/>
              <a:gd name="connsiteY58" fmla="*/ 202575 h 391180"/>
              <a:gd name="connsiteX59" fmla="*/ 273678 w 391032"/>
              <a:gd name="connsiteY59" fmla="*/ 203972 h 391180"/>
              <a:gd name="connsiteX60" fmla="*/ 251325 w 391032"/>
              <a:gd name="connsiteY60" fmla="*/ 244488 h 391180"/>
              <a:gd name="connsiteX61" fmla="*/ 251325 w 391032"/>
              <a:gd name="connsiteY61" fmla="*/ 265443 h 391180"/>
              <a:gd name="connsiteX62" fmla="*/ 254119 w 391032"/>
              <a:gd name="connsiteY62" fmla="*/ 273826 h 391180"/>
              <a:gd name="connsiteX63" fmla="*/ 339340 w 391032"/>
              <a:gd name="connsiteY63" fmla="*/ 291988 h 391180"/>
              <a:gd name="connsiteX64" fmla="*/ 388238 w 391032"/>
              <a:gd name="connsiteY64" fmla="*/ 339488 h 391180"/>
              <a:gd name="connsiteX65" fmla="*/ 384047 w 391032"/>
              <a:gd name="connsiteY65" fmla="*/ 347871 h 391180"/>
              <a:gd name="connsiteX66" fmla="*/ 382650 w 391032"/>
              <a:gd name="connsiteY66" fmla="*/ 347871 h 391180"/>
              <a:gd name="connsiteX67" fmla="*/ 375665 w 391032"/>
              <a:gd name="connsiteY67" fmla="*/ 342283 h 391180"/>
              <a:gd name="connsiteX68" fmla="*/ 337944 w 391032"/>
              <a:gd name="connsiteY68" fmla="*/ 304562 h 391180"/>
              <a:gd name="connsiteX69" fmla="*/ 252722 w 391032"/>
              <a:gd name="connsiteY69" fmla="*/ 286400 h 391180"/>
              <a:gd name="connsiteX70" fmla="*/ 237354 w 391032"/>
              <a:gd name="connsiteY70" fmla="*/ 265443 h 391180"/>
              <a:gd name="connsiteX71" fmla="*/ 237354 w 391032"/>
              <a:gd name="connsiteY71" fmla="*/ 241693 h 391180"/>
              <a:gd name="connsiteX72" fmla="*/ 241545 w 391032"/>
              <a:gd name="connsiteY72" fmla="*/ 237502 h 391180"/>
              <a:gd name="connsiteX73" fmla="*/ 263898 w 391032"/>
              <a:gd name="connsiteY73" fmla="*/ 196987 h 391180"/>
              <a:gd name="connsiteX74" fmla="*/ 276472 w 391032"/>
              <a:gd name="connsiteY74" fmla="*/ 188605 h 391180"/>
              <a:gd name="connsiteX75" fmla="*/ 277869 w 391032"/>
              <a:gd name="connsiteY75" fmla="*/ 188605 h 391180"/>
              <a:gd name="connsiteX76" fmla="*/ 293237 w 391032"/>
              <a:gd name="connsiteY76" fmla="*/ 170443 h 391180"/>
              <a:gd name="connsiteX77" fmla="*/ 293237 w 391032"/>
              <a:gd name="connsiteY77" fmla="*/ 150884 h 391180"/>
              <a:gd name="connsiteX78" fmla="*/ 290442 w 391032"/>
              <a:gd name="connsiteY78" fmla="*/ 149487 h 391180"/>
              <a:gd name="connsiteX79" fmla="*/ 279266 w 391032"/>
              <a:gd name="connsiteY79" fmla="*/ 135516 h 391180"/>
              <a:gd name="connsiteX80" fmla="*/ 280663 w 391032"/>
              <a:gd name="connsiteY80" fmla="*/ 132722 h 391180"/>
              <a:gd name="connsiteX81" fmla="*/ 280663 w 391032"/>
              <a:gd name="connsiteY81" fmla="*/ 124339 h 391180"/>
              <a:gd name="connsiteX82" fmla="*/ 249928 w 391032"/>
              <a:gd name="connsiteY82" fmla="*/ 103383 h 391180"/>
              <a:gd name="connsiteX83" fmla="*/ 238751 w 391032"/>
              <a:gd name="connsiteY83" fmla="*/ 86618 h 391180"/>
              <a:gd name="connsiteX84" fmla="*/ 206619 w 391032"/>
              <a:gd name="connsiteY84" fmla="*/ 104780 h 391180"/>
              <a:gd name="connsiteX85" fmla="*/ 188456 w 391032"/>
              <a:gd name="connsiteY85" fmla="*/ 110368 h 391180"/>
              <a:gd name="connsiteX86" fmla="*/ 160514 w 391032"/>
              <a:gd name="connsiteY86" fmla="*/ 115957 h 391180"/>
              <a:gd name="connsiteX87" fmla="*/ 117205 w 391032"/>
              <a:gd name="connsiteY87" fmla="*/ 125737 h 391180"/>
              <a:gd name="connsiteX88" fmla="*/ 115808 w 391032"/>
              <a:gd name="connsiteY88" fmla="*/ 131325 h 391180"/>
              <a:gd name="connsiteX89" fmla="*/ 115808 w 391032"/>
              <a:gd name="connsiteY89" fmla="*/ 135516 h 391180"/>
              <a:gd name="connsiteX90" fmla="*/ 106028 w 391032"/>
              <a:gd name="connsiteY90" fmla="*/ 149487 h 391180"/>
              <a:gd name="connsiteX91" fmla="*/ 104631 w 391032"/>
              <a:gd name="connsiteY91" fmla="*/ 150884 h 391180"/>
              <a:gd name="connsiteX92" fmla="*/ 103234 w 391032"/>
              <a:gd name="connsiteY92" fmla="*/ 150884 h 391180"/>
              <a:gd name="connsiteX93" fmla="*/ 101837 w 391032"/>
              <a:gd name="connsiteY93" fmla="*/ 152281 h 391180"/>
              <a:gd name="connsiteX94" fmla="*/ 101837 w 391032"/>
              <a:gd name="connsiteY94" fmla="*/ 169046 h 391180"/>
              <a:gd name="connsiteX95" fmla="*/ 117205 w 391032"/>
              <a:gd name="connsiteY95" fmla="*/ 188605 h 391180"/>
              <a:gd name="connsiteX96" fmla="*/ 131176 w 391032"/>
              <a:gd name="connsiteY96" fmla="*/ 195590 h 391180"/>
              <a:gd name="connsiteX97" fmla="*/ 150735 w 391032"/>
              <a:gd name="connsiteY97" fmla="*/ 236105 h 391180"/>
              <a:gd name="connsiteX98" fmla="*/ 152132 w 391032"/>
              <a:gd name="connsiteY98" fmla="*/ 240296 h 391180"/>
              <a:gd name="connsiteX99" fmla="*/ 152132 w 391032"/>
              <a:gd name="connsiteY99" fmla="*/ 265443 h 391180"/>
              <a:gd name="connsiteX100" fmla="*/ 138161 w 391032"/>
              <a:gd name="connsiteY100" fmla="*/ 286400 h 391180"/>
              <a:gd name="connsiteX101" fmla="*/ 61322 w 391032"/>
              <a:gd name="connsiteY101" fmla="*/ 304562 h 391180"/>
              <a:gd name="connsiteX102" fmla="*/ 24998 w 391032"/>
              <a:gd name="connsiteY102" fmla="*/ 333900 h 391180"/>
              <a:gd name="connsiteX103" fmla="*/ 16616 w 391032"/>
              <a:gd name="connsiteY103" fmla="*/ 360445 h 391180"/>
              <a:gd name="connsiteX104" fmla="*/ 13822 w 391032"/>
              <a:gd name="connsiteY104" fmla="*/ 377209 h 391180"/>
              <a:gd name="connsiteX105" fmla="*/ 384047 w 391032"/>
              <a:gd name="connsiteY105" fmla="*/ 377209 h 391180"/>
              <a:gd name="connsiteX106" fmla="*/ 391032 w 391032"/>
              <a:gd name="connsiteY106" fmla="*/ 384195 h 391180"/>
              <a:gd name="connsiteX107" fmla="*/ 384047 w 391032"/>
              <a:gd name="connsiteY107" fmla="*/ 391180 h 391180"/>
              <a:gd name="connsiteX108" fmla="*/ 8234 w 391032"/>
              <a:gd name="connsiteY108" fmla="*/ 391180 h 391180"/>
              <a:gd name="connsiteX109" fmla="*/ 2645 w 391032"/>
              <a:gd name="connsiteY109" fmla="*/ 386989 h 391180"/>
              <a:gd name="connsiteX110" fmla="*/ 2645 w 391032"/>
              <a:gd name="connsiteY110" fmla="*/ 357650 h 391180"/>
              <a:gd name="connsiteX111" fmla="*/ 12424 w 391032"/>
              <a:gd name="connsiteY111" fmla="*/ 328312 h 391180"/>
              <a:gd name="connsiteX112" fmla="*/ 58528 w 391032"/>
              <a:gd name="connsiteY112" fmla="*/ 290591 h 391180"/>
              <a:gd name="connsiteX113" fmla="*/ 135367 w 391032"/>
              <a:gd name="connsiteY113" fmla="*/ 272429 h 391180"/>
              <a:gd name="connsiteX114" fmla="*/ 139558 w 391032"/>
              <a:gd name="connsiteY114" fmla="*/ 265443 h 391180"/>
              <a:gd name="connsiteX115" fmla="*/ 139558 w 391032"/>
              <a:gd name="connsiteY115" fmla="*/ 243091 h 391180"/>
              <a:gd name="connsiteX116" fmla="*/ 118602 w 391032"/>
              <a:gd name="connsiteY116" fmla="*/ 203972 h 391180"/>
              <a:gd name="connsiteX117" fmla="*/ 115808 w 391032"/>
              <a:gd name="connsiteY117" fmla="*/ 202575 h 391180"/>
              <a:gd name="connsiteX118" fmla="*/ 87866 w 391032"/>
              <a:gd name="connsiteY118" fmla="*/ 173237 h 391180"/>
              <a:gd name="connsiteX119" fmla="*/ 87866 w 391032"/>
              <a:gd name="connsiteY119" fmla="*/ 145295 h 391180"/>
              <a:gd name="connsiteX120" fmla="*/ 90661 w 391032"/>
              <a:gd name="connsiteY120" fmla="*/ 142501 h 391180"/>
              <a:gd name="connsiteX121" fmla="*/ 86469 w 391032"/>
              <a:gd name="connsiteY121" fmla="*/ 132722 h 391180"/>
              <a:gd name="connsiteX122" fmla="*/ 80881 w 391032"/>
              <a:gd name="connsiteY122" fmla="*/ 93604 h 391180"/>
              <a:gd name="connsiteX123" fmla="*/ 83676 w 391032"/>
              <a:gd name="connsiteY123" fmla="*/ 72647 h 391180"/>
              <a:gd name="connsiteX124" fmla="*/ 129779 w 391032"/>
              <a:gd name="connsiteY124" fmla="*/ 18162 h 391180"/>
              <a:gd name="connsiteX125" fmla="*/ 191250 w 391032"/>
              <a:gd name="connsiteY125" fmla="*/ 0 h 391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391032" h="391180">
                <a:moveTo>
                  <a:pt x="252721" y="296179"/>
                </a:moveTo>
                <a:cubicBezTo>
                  <a:pt x="255515" y="298973"/>
                  <a:pt x="256912" y="303164"/>
                  <a:pt x="254118" y="305959"/>
                </a:cubicBezTo>
                <a:cubicBezTo>
                  <a:pt x="223382" y="347871"/>
                  <a:pt x="223382" y="347871"/>
                  <a:pt x="219191" y="347871"/>
                </a:cubicBezTo>
                <a:cubicBezTo>
                  <a:pt x="215000" y="347871"/>
                  <a:pt x="215000" y="346474"/>
                  <a:pt x="205220" y="333900"/>
                </a:cubicBezTo>
                <a:cubicBezTo>
                  <a:pt x="201029" y="329709"/>
                  <a:pt x="196838" y="322724"/>
                  <a:pt x="194044" y="319930"/>
                </a:cubicBezTo>
                <a:lnTo>
                  <a:pt x="192647" y="319930"/>
                </a:lnTo>
                <a:cubicBezTo>
                  <a:pt x="189852" y="322724"/>
                  <a:pt x="185661" y="328312"/>
                  <a:pt x="182867" y="332504"/>
                </a:cubicBezTo>
                <a:cubicBezTo>
                  <a:pt x="173087" y="345077"/>
                  <a:pt x="171690" y="346474"/>
                  <a:pt x="167499" y="346474"/>
                </a:cubicBezTo>
                <a:cubicBezTo>
                  <a:pt x="163307" y="346474"/>
                  <a:pt x="161910" y="346474"/>
                  <a:pt x="129777" y="307356"/>
                </a:cubicBezTo>
                <a:cubicBezTo>
                  <a:pt x="128380" y="304562"/>
                  <a:pt x="128380" y="300370"/>
                  <a:pt x="131174" y="297576"/>
                </a:cubicBezTo>
                <a:cubicBezTo>
                  <a:pt x="133969" y="296179"/>
                  <a:pt x="138160" y="296179"/>
                  <a:pt x="140954" y="298973"/>
                </a:cubicBezTo>
                <a:cubicBezTo>
                  <a:pt x="150734" y="310150"/>
                  <a:pt x="161910" y="322724"/>
                  <a:pt x="167499" y="328312"/>
                </a:cubicBezTo>
                <a:cubicBezTo>
                  <a:pt x="168897" y="326915"/>
                  <a:pt x="170293" y="324121"/>
                  <a:pt x="171690" y="322724"/>
                </a:cubicBezTo>
                <a:cubicBezTo>
                  <a:pt x="184264" y="307356"/>
                  <a:pt x="185661" y="305959"/>
                  <a:pt x="189852" y="305959"/>
                </a:cubicBezTo>
                <a:lnTo>
                  <a:pt x="196838" y="305959"/>
                </a:lnTo>
                <a:cubicBezTo>
                  <a:pt x="202426" y="305959"/>
                  <a:pt x="203823" y="307356"/>
                  <a:pt x="216397" y="325518"/>
                </a:cubicBezTo>
                <a:cubicBezTo>
                  <a:pt x="217794" y="326915"/>
                  <a:pt x="217794" y="328312"/>
                  <a:pt x="219191" y="329709"/>
                </a:cubicBezTo>
                <a:cubicBezTo>
                  <a:pt x="224779" y="321326"/>
                  <a:pt x="234559" y="308753"/>
                  <a:pt x="242941" y="297576"/>
                </a:cubicBezTo>
                <a:cubicBezTo>
                  <a:pt x="245736" y="294782"/>
                  <a:pt x="249927" y="293385"/>
                  <a:pt x="252721" y="296179"/>
                </a:cubicBezTo>
                <a:close/>
                <a:moveTo>
                  <a:pt x="218143" y="246583"/>
                </a:moveTo>
                <a:cubicBezTo>
                  <a:pt x="219889" y="247282"/>
                  <a:pt x="221286" y="248679"/>
                  <a:pt x="221984" y="250076"/>
                </a:cubicBezTo>
                <a:cubicBezTo>
                  <a:pt x="223382" y="254267"/>
                  <a:pt x="221984" y="258459"/>
                  <a:pt x="219191" y="259856"/>
                </a:cubicBezTo>
                <a:cubicBezTo>
                  <a:pt x="212205" y="264047"/>
                  <a:pt x="203822" y="265444"/>
                  <a:pt x="195440" y="265444"/>
                </a:cubicBezTo>
                <a:cubicBezTo>
                  <a:pt x="187058" y="265444"/>
                  <a:pt x="178675" y="264047"/>
                  <a:pt x="170292" y="259856"/>
                </a:cubicBezTo>
                <a:cubicBezTo>
                  <a:pt x="167498" y="257061"/>
                  <a:pt x="166100" y="252870"/>
                  <a:pt x="167498" y="250076"/>
                </a:cubicBezTo>
                <a:cubicBezTo>
                  <a:pt x="170292" y="247281"/>
                  <a:pt x="174484" y="245884"/>
                  <a:pt x="177278" y="247281"/>
                </a:cubicBezTo>
                <a:cubicBezTo>
                  <a:pt x="188454" y="252870"/>
                  <a:pt x="201028" y="252870"/>
                  <a:pt x="212205" y="247281"/>
                </a:cubicBezTo>
                <a:cubicBezTo>
                  <a:pt x="214300" y="245884"/>
                  <a:pt x="216396" y="245884"/>
                  <a:pt x="218143" y="246583"/>
                </a:cubicBezTo>
                <a:close/>
                <a:moveTo>
                  <a:pt x="191250" y="13971"/>
                </a:moveTo>
                <a:cubicBezTo>
                  <a:pt x="171691" y="13971"/>
                  <a:pt x="152132" y="19559"/>
                  <a:pt x="135367" y="30736"/>
                </a:cubicBezTo>
                <a:cubicBezTo>
                  <a:pt x="117205" y="40515"/>
                  <a:pt x="103234" y="57280"/>
                  <a:pt x="96249" y="76839"/>
                </a:cubicBezTo>
                <a:cubicBezTo>
                  <a:pt x="94852" y="82427"/>
                  <a:pt x="94852" y="88016"/>
                  <a:pt x="94852" y="93604"/>
                </a:cubicBezTo>
                <a:cubicBezTo>
                  <a:pt x="94852" y="104780"/>
                  <a:pt x="96249" y="115957"/>
                  <a:pt x="97646" y="124339"/>
                </a:cubicBezTo>
                <a:cubicBezTo>
                  <a:pt x="99043" y="125737"/>
                  <a:pt x="99043" y="125737"/>
                  <a:pt x="99043" y="127133"/>
                </a:cubicBezTo>
                <a:cubicBezTo>
                  <a:pt x="99043" y="122942"/>
                  <a:pt x="101837" y="117354"/>
                  <a:pt x="104631" y="113163"/>
                </a:cubicBezTo>
                <a:cubicBezTo>
                  <a:pt x="104631" y="111766"/>
                  <a:pt x="106028" y="110368"/>
                  <a:pt x="107426" y="110368"/>
                </a:cubicBezTo>
                <a:cubicBezTo>
                  <a:pt x="122793" y="104780"/>
                  <a:pt x="139558" y="101986"/>
                  <a:pt x="154926" y="99192"/>
                </a:cubicBezTo>
                <a:lnTo>
                  <a:pt x="182868" y="93604"/>
                </a:lnTo>
                <a:cubicBezTo>
                  <a:pt x="189853" y="93604"/>
                  <a:pt x="194045" y="92207"/>
                  <a:pt x="199633" y="89413"/>
                </a:cubicBezTo>
                <a:cubicBezTo>
                  <a:pt x="212207" y="85221"/>
                  <a:pt x="224781" y="78236"/>
                  <a:pt x="234560" y="68457"/>
                </a:cubicBezTo>
                <a:cubicBezTo>
                  <a:pt x="237354" y="67059"/>
                  <a:pt x="238751" y="67059"/>
                  <a:pt x="241545" y="67059"/>
                </a:cubicBezTo>
                <a:cubicBezTo>
                  <a:pt x="242942" y="67059"/>
                  <a:pt x="244340" y="68457"/>
                  <a:pt x="245736" y="71251"/>
                </a:cubicBezTo>
                <a:cubicBezTo>
                  <a:pt x="248531" y="79633"/>
                  <a:pt x="252722" y="86618"/>
                  <a:pt x="258310" y="92207"/>
                </a:cubicBezTo>
                <a:cubicBezTo>
                  <a:pt x="266692" y="100589"/>
                  <a:pt x="276472" y="107575"/>
                  <a:pt x="287649" y="111766"/>
                </a:cubicBezTo>
                <a:cubicBezTo>
                  <a:pt x="289046" y="111766"/>
                  <a:pt x="289046" y="113163"/>
                  <a:pt x="289046" y="113163"/>
                </a:cubicBezTo>
                <a:cubicBezTo>
                  <a:pt x="296031" y="99192"/>
                  <a:pt x="301619" y="75442"/>
                  <a:pt x="290442" y="57280"/>
                </a:cubicBezTo>
                <a:cubicBezTo>
                  <a:pt x="284854" y="43309"/>
                  <a:pt x="272281" y="34926"/>
                  <a:pt x="258310" y="34926"/>
                </a:cubicBezTo>
                <a:cubicBezTo>
                  <a:pt x="255516" y="34926"/>
                  <a:pt x="252722" y="34926"/>
                  <a:pt x="251325" y="34926"/>
                </a:cubicBezTo>
                <a:cubicBezTo>
                  <a:pt x="248531" y="36324"/>
                  <a:pt x="245736" y="34926"/>
                  <a:pt x="244340" y="32133"/>
                </a:cubicBezTo>
                <a:cubicBezTo>
                  <a:pt x="240148" y="25147"/>
                  <a:pt x="228971" y="13971"/>
                  <a:pt x="192648" y="13971"/>
                </a:cubicBezTo>
                <a:close/>
                <a:moveTo>
                  <a:pt x="191250" y="0"/>
                </a:moveTo>
                <a:lnTo>
                  <a:pt x="192648" y="0"/>
                </a:lnTo>
                <a:cubicBezTo>
                  <a:pt x="228971" y="0"/>
                  <a:pt x="245736" y="11176"/>
                  <a:pt x="254119" y="22353"/>
                </a:cubicBezTo>
                <a:cubicBezTo>
                  <a:pt x="255516" y="22353"/>
                  <a:pt x="256913" y="22353"/>
                  <a:pt x="258310" y="22353"/>
                </a:cubicBezTo>
                <a:cubicBezTo>
                  <a:pt x="277869" y="22353"/>
                  <a:pt x="294634" y="33530"/>
                  <a:pt x="303016" y="51692"/>
                </a:cubicBezTo>
                <a:cubicBezTo>
                  <a:pt x="322575" y="85221"/>
                  <a:pt x="298825" y="128530"/>
                  <a:pt x="293237" y="136913"/>
                </a:cubicBezTo>
                <a:cubicBezTo>
                  <a:pt x="297428" y="139707"/>
                  <a:pt x="300223" y="141104"/>
                  <a:pt x="303016" y="145295"/>
                </a:cubicBezTo>
                <a:cubicBezTo>
                  <a:pt x="307208" y="155075"/>
                  <a:pt x="307208" y="164854"/>
                  <a:pt x="304413" y="174634"/>
                </a:cubicBezTo>
                <a:cubicBezTo>
                  <a:pt x="297428" y="198384"/>
                  <a:pt x="284854" y="202575"/>
                  <a:pt x="276472" y="202575"/>
                </a:cubicBezTo>
                <a:cubicBezTo>
                  <a:pt x="275075" y="202575"/>
                  <a:pt x="275075" y="203972"/>
                  <a:pt x="273678" y="203972"/>
                </a:cubicBezTo>
                <a:cubicBezTo>
                  <a:pt x="266692" y="217943"/>
                  <a:pt x="261104" y="231914"/>
                  <a:pt x="251325" y="244488"/>
                </a:cubicBezTo>
                <a:lnTo>
                  <a:pt x="251325" y="265443"/>
                </a:lnTo>
                <a:cubicBezTo>
                  <a:pt x="251325" y="268238"/>
                  <a:pt x="252722" y="272429"/>
                  <a:pt x="254119" y="273826"/>
                </a:cubicBezTo>
                <a:lnTo>
                  <a:pt x="339340" y="291988"/>
                </a:lnTo>
                <a:cubicBezTo>
                  <a:pt x="364488" y="298974"/>
                  <a:pt x="382650" y="315738"/>
                  <a:pt x="388238" y="339488"/>
                </a:cubicBezTo>
                <a:cubicBezTo>
                  <a:pt x="389635" y="343680"/>
                  <a:pt x="388238" y="346474"/>
                  <a:pt x="384047" y="347871"/>
                </a:cubicBezTo>
                <a:cubicBezTo>
                  <a:pt x="384047" y="347871"/>
                  <a:pt x="382650" y="347871"/>
                  <a:pt x="382650" y="347871"/>
                </a:cubicBezTo>
                <a:cubicBezTo>
                  <a:pt x="379856" y="347871"/>
                  <a:pt x="377061" y="345077"/>
                  <a:pt x="375665" y="342283"/>
                </a:cubicBezTo>
                <a:cubicBezTo>
                  <a:pt x="371473" y="324121"/>
                  <a:pt x="357503" y="310150"/>
                  <a:pt x="337944" y="304562"/>
                </a:cubicBezTo>
                <a:cubicBezTo>
                  <a:pt x="337944" y="304562"/>
                  <a:pt x="273678" y="291988"/>
                  <a:pt x="252722" y="286400"/>
                </a:cubicBezTo>
                <a:cubicBezTo>
                  <a:pt x="242942" y="283605"/>
                  <a:pt x="237354" y="275223"/>
                  <a:pt x="237354" y="265443"/>
                </a:cubicBezTo>
                <a:lnTo>
                  <a:pt x="237354" y="241693"/>
                </a:lnTo>
                <a:cubicBezTo>
                  <a:pt x="237354" y="240296"/>
                  <a:pt x="237354" y="238899"/>
                  <a:pt x="241545" y="237502"/>
                </a:cubicBezTo>
                <a:cubicBezTo>
                  <a:pt x="249928" y="224929"/>
                  <a:pt x="256913" y="210958"/>
                  <a:pt x="263898" y="196987"/>
                </a:cubicBezTo>
                <a:cubicBezTo>
                  <a:pt x="266692" y="191399"/>
                  <a:pt x="272281" y="190001"/>
                  <a:pt x="276472" y="188605"/>
                </a:cubicBezTo>
                <a:cubicBezTo>
                  <a:pt x="276472" y="188605"/>
                  <a:pt x="277869" y="188605"/>
                  <a:pt x="277869" y="188605"/>
                </a:cubicBezTo>
                <a:cubicBezTo>
                  <a:pt x="284854" y="188605"/>
                  <a:pt x="290442" y="183016"/>
                  <a:pt x="293237" y="170443"/>
                </a:cubicBezTo>
                <a:cubicBezTo>
                  <a:pt x="296031" y="163457"/>
                  <a:pt x="296031" y="156472"/>
                  <a:pt x="293237" y="150884"/>
                </a:cubicBezTo>
                <a:cubicBezTo>
                  <a:pt x="291840" y="150884"/>
                  <a:pt x="291840" y="149487"/>
                  <a:pt x="290442" y="149487"/>
                </a:cubicBezTo>
                <a:cubicBezTo>
                  <a:pt x="283457" y="148089"/>
                  <a:pt x="279266" y="142501"/>
                  <a:pt x="279266" y="135516"/>
                </a:cubicBezTo>
                <a:cubicBezTo>
                  <a:pt x="279266" y="134119"/>
                  <a:pt x="280663" y="134119"/>
                  <a:pt x="280663" y="132722"/>
                </a:cubicBezTo>
                <a:cubicBezTo>
                  <a:pt x="280663" y="129928"/>
                  <a:pt x="280663" y="127133"/>
                  <a:pt x="280663" y="124339"/>
                </a:cubicBezTo>
                <a:cubicBezTo>
                  <a:pt x="268090" y="120148"/>
                  <a:pt x="258310" y="111766"/>
                  <a:pt x="249928" y="103383"/>
                </a:cubicBezTo>
                <a:cubicBezTo>
                  <a:pt x="245736" y="97795"/>
                  <a:pt x="241545" y="92207"/>
                  <a:pt x="238751" y="86618"/>
                </a:cubicBezTo>
                <a:cubicBezTo>
                  <a:pt x="228971" y="95001"/>
                  <a:pt x="217795" y="100589"/>
                  <a:pt x="206619" y="104780"/>
                </a:cubicBezTo>
                <a:cubicBezTo>
                  <a:pt x="201030" y="107575"/>
                  <a:pt x="195442" y="108971"/>
                  <a:pt x="188456" y="110368"/>
                </a:cubicBezTo>
                <a:lnTo>
                  <a:pt x="160514" y="115957"/>
                </a:lnTo>
                <a:cubicBezTo>
                  <a:pt x="145147" y="117354"/>
                  <a:pt x="131176" y="121545"/>
                  <a:pt x="117205" y="125737"/>
                </a:cubicBezTo>
                <a:cubicBezTo>
                  <a:pt x="115808" y="127133"/>
                  <a:pt x="115808" y="129928"/>
                  <a:pt x="115808" y="131325"/>
                </a:cubicBezTo>
                <a:cubicBezTo>
                  <a:pt x="115808" y="132722"/>
                  <a:pt x="115808" y="134119"/>
                  <a:pt x="115808" y="135516"/>
                </a:cubicBezTo>
                <a:cubicBezTo>
                  <a:pt x="115808" y="141104"/>
                  <a:pt x="111616" y="148089"/>
                  <a:pt x="106028" y="149487"/>
                </a:cubicBezTo>
                <a:cubicBezTo>
                  <a:pt x="106028" y="150884"/>
                  <a:pt x="104631" y="150884"/>
                  <a:pt x="104631" y="150884"/>
                </a:cubicBezTo>
                <a:cubicBezTo>
                  <a:pt x="103234" y="150884"/>
                  <a:pt x="103234" y="150884"/>
                  <a:pt x="103234" y="150884"/>
                </a:cubicBezTo>
                <a:cubicBezTo>
                  <a:pt x="101837" y="150884"/>
                  <a:pt x="101837" y="152281"/>
                  <a:pt x="101837" y="152281"/>
                </a:cubicBezTo>
                <a:cubicBezTo>
                  <a:pt x="100440" y="156472"/>
                  <a:pt x="99043" y="163457"/>
                  <a:pt x="101837" y="169046"/>
                </a:cubicBezTo>
                <a:cubicBezTo>
                  <a:pt x="104631" y="181619"/>
                  <a:pt x="110220" y="188605"/>
                  <a:pt x="117205" y="188605"/>
                </a:cubicBezTo>
                <a:cubicBezTo>
                  <a:pt x="117205" y="188605"/>
                  <a:pt x="126985" y="188605"/>
                  <a:pt x="131176" y="195590"/>
                </a:cubicBezTo>
                <a:cubicBezTo>
                  <a:pt x="136764" y="209561"/>
                  <a:pt x="143749" y="223532"/>
                  <a:pt x="150735" y="236105"/>
                </a:cubicBezTo>
                <a:cubicBezTo>
                  <a:pt x="152132" y="237502"/>
                  <a:pt x="152132" y="238899"/>
                  <a:pt x="152132" y="240296"/>
                </a:cubicBezTo>
                <a:lnTo>
                  <a:pt x="152132" y="265443"/>
                </a:lnTo>
                <a:cubicBezTo>
                  <a:pt x="152132" y="275223"/>
                  <a:pt x="146544" y="283605"/>
                  <a:pt x="138161" y="286400"/>
                </a:cubicBezTo>
                <a:cubicBezTo>
                  <a:pt x="119999" y="291988"/>
                  <a:pt x="61322" y="304562"/>
                  <a:pt x="61322" y="304562"/>
                </a:cubicBezTo>
                <a:cubicBezTo>
                  <a:pt x="45955" y="307356"/>
                  <a:pt x="33381" y="317135"/>
                  <a:pt x="24998" y="333900"/>
                </a:cubicBezTo>
                <a:cubicBezTo>
                  <a:pt x="20807" y="340885"/>
                  <a:pt x="18013" y="349268"/>
                  <a:pt x="16616" y="360445"/>
                </a:cubicBezTo>
                <a:cubicBezTo>
                  <a:pt x="15219" y="368827"/>
                  <a:pt x="13822" y="374416"/>
                  <a:pt x="13822" y="377209"/>
                </a:cubicBezTo>
                <a:lnTo>
                  <a:pt x="384047" y="377209"/>
                </a:lnTo>
                <a:cubicBezTo>
                  <a:pt x="388238" y="377209"/>
                  <a:pt x="391032" y="380004"/>
                  <a:pt x="391032" y="384195"/>
                </a:cubicBezTo>
                <a:cubicBezTo>
                  <a:pt x="391032" y="388386"/>
                  <a:pt x="388238" y="391180"/>
                  <a:pt x="384047" y="391180"/>
                </a:cubicBezTo>
                <a:lnTo>
                  <a:pt x="8234" y="391180"/>
                </a:lnTo>
                <a:cubicBezTo>
                  <a:pt x="6836" y="391180"/>
                  <a:pt x="4042" y="389783"/>
                  <a:pt x="2645" y="386989"/>
                </a:cubicBezTo>
                <a:cubicBezTo>
                  <a:pt x="-149" y="384195"/>
                  <a:pt x="-1547" y="380004"/>
                  <a:pt x="2645" y="357650"/>
                </a:cubicBezTo>
                <a:cubicBezTo>
                  <a:pt x="5439" y="346474"/>
                  <a:pt x="8234" y="336695"/>
                  <a:pt x="12424" y="328312"/>
                </a:cubicBezTo>
                <a:cubicBezTo>
                  <a:pt x="23601" y="305959"/>
                  <a:pt x="37572" y="294782"/>
                  <a:pt x="58528" y="290591"/>
                </a:cubicBezTo>
                <a:lnTo>
                  <a:pt x="135367" y="272429"/>
                </a:lnTo>
                <a:cubicBezTo>
                  <a:pt x="136764" y="272429"/>
                  <a:pt x="139558" y="268238"/>
                  <a:pt x="139558" y="265443"/>
                </a:cubicBezTo>
                <a:lnTo>
                  <a:pt x="139558" y="243091"/>
                </a:lnTo>
                <a:cubicBezTo>
                  <a:pt x="131176" y="230517"/>
                  <a:pt x="125587" y="217943"/>
                  <a:pt x="118602" y="203972"/>
                </a:cubicBezTo>
                <a:cubicBezTo>
                  <a:pt x="118602" y="202575"/>
                  <a:pt x="117205" y="202575"/>
                  <a:pt x="115808" y="202575"/>
                </a:cubicBezTo>
                <a:cubicBezTo>
                  <a:pt x="110220" y="202575"/>
                  <a:pt x="94852" y="199781"/>
                  <a:pt x="87866" y="173237"/>
                </a:cubicBezTo>
                <a:cubicBezTo>
                  <a:pt x="83676" y="164854"/>
                  <a:pt x="83676" y="153678"/>
                  <a:pt x="87866" y="145295"/>
                </a:cubicBezTo>
                <a:cubicBezTo>
                  <a:pt x="89264" y="143899"/>
                  <a:pt x="89264" y="143899"/>
                  <a:pt x="90661" y="142501"/>
                </a:cubicBezTo>
                <a:cubicBezTo>
                  <a:pt x="89264" y="139707"/>
                  <a:pt x="86469" y="132722"/>
                  <a:pt x="86469" y="132722"/>
                </a:cubicBezTo>
                <a:cubicBezTo>
                  <a:pt x="83676" y="120148"/>
                  <a:pt x="80881" y="106178"/>
                  <a:pt x="80881" y="93604"/>
                </a:cubicBezTo>
                <a:cubicBezTo>
                  <a:pt x="80881" y="86618"/>
                  <a:pt x="82278" y="79633"/>
                  <a:pt x="83676" y="72647"/>
                </a:cubicBezTo>
                <a:cubicBezTo>
                  <a:pt x="92058" y="48897"/>
                  <a:pt x="107426" y="29338"/>
                  <a:pt x="129779" y="18162"/>
                </a:cubicBezTo>
                <a:cubicBezTo>
                  <a:pt x="147941" y="6985"/>
                  <a:pt x="168898" y="0"/>
                  <a:pt x="191250" y="0"/>
                </a:cubicBezTo>
                <a:close/>
              </a:path>
            </a:pathLst>
          </a:custGeom>
          <a:solidFill>
            <a:srgbClr val="00A460"/>
          </a:solidFill>
          <a:ln w="2411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8613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6">
            <a:extLst>
              <a:ext uri="{FF2B5EF4-FFF2-40B4-BE49-F238E27FC236}">
                <a16:creationId xmlns:a16="http://schemas.microsoft.com/office/drawing/2014/main" id="{CF4E8BD3-B856-1343-B69B-065626AF1B61}"/>
              </a:ext>
            </a:extLst>
          </p:cNvPr>
          <p:cNvSpPr txBox="1">
            <a:spLocks/>
          </p:cNvSpPr>
          <p:nvPr/>
        </p:nvSpPr>
        <p:spPr>
          <a:xfrm>
            <a:off x="8924655" y="6360428"/>
            <a:ext cx="2654968" cy="2003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873F048-D532-42BD-AB62-653627250667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id="{5813C21E-0FF2-F944-A1B7-E09D0BD251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0108" y="3779632"/>
            <a:ext cx="2514554" cy="3077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000" dirty="0" smtClean="0"/>
              <a:t>ИТ-компания</a:t>
            </a:r>
            <a:endParaRPr lang="ru-RU" sz="2000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57ABEF13-680A-1C46-B61A-6884E3D0AB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4822" y="4450035"/>
            <a:ext cx="2748234" cy="1577355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800" dirty="0" smtClean="0"/>
              <a:t>Внешний подрядчик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800" dirty="0" smtClean="0"/>
              <a:t>ИТ-проект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800" dirty="0" smtClean="0"/>
              <a:t>Отраслевое разнообраз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800" dirty="0" err="1" smtClean="0"/>
              <a:t>Клиентоцентричность</a:t>
            </a:r>
            <a:endParaRPr lang="ru-RU" sz="18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8683263-8C70-B542-91C9-445899A3FFA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58124" y="1335519"/>
            <a:ext cx="2151380" cy="2151380"/>
          </a:xfrm>
        </p:spPr>
      </p:pic>
      <p:sp>
        <p:nvSpPr>
          <p:cNvPr id="24" name="Текст 23">
            <a:extLst>
              <a:ext uri="{FF2B5EF4-FFF2-40B4-BE49-F238E27FC236}">
                <a16:creationId xmlns:a16="http://schemas.microsoft.com/office/drawing/2014/main" id="{07651122-2BD1-A341-A690-04C0D86101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35100" y="3779632"/>
            <a:ext cx="2514553" cy="3077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000" dirty="0" smtClean="0"/>
              <a:t>ИТ-проекты</a:t>
            </a:r>
            <a:endParaRPr lang="ru-RU" sz="2000" dirty="0"/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A7523FC4-2574-CC4F-BE35-79BEF2CD6F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7548" y="4450035"/>
            <a:ext cx="2748233" cy="16414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Автоматизац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Оптимизац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Цель и задач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Сроки и бюдже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Команд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0B55167-6974-584A-9D6B-9137567CC21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4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698" y="1335519"/>
            <a:ext cx="2151380" cy="2151380"/>
          </a:xfrm>
        </p:spPr>
      </p:pic>
      <p:sp>
        <p:nvSpPr>
          <p:cNvPr id="27" name="Текст 26">
            <a:extLst>
              <a:ext uri="{FF2B5EF4-FFF2-40B4-BE49-F238E27FC236}">
                <a16:creationId xmlns:a16="http://schemas.microsoft.com/office/drawing/2014/main" id="{8A571381-A884-604D-9E05-0748EDEBF23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7727" y="3779632"/>
            <a:ext cx="2514553" cy="3077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000" dirty="0" smtClean="0"/>
              <a:t>Аналитик</a:t>
            </a:r>
            <a:endParaRPr lang="ru-RU" sz="2000" dirty="0"/>
          </a:p>
        </p:txBody>
      </p:sp>
      <p:sp>
        <p:nvSpPr>
          <p:cNvPr id="28" name="Текст 27">
            <a:extLst>
              <a:ext uri="{FF2B5EF4-FFF2-40B4-BE49-F238E27FC236}">
                <a16:creationId xmlns:a16="http://schemas.microsoft.com/office/drawing/2014/main" id="{8A368568-C408-4644-ACD2-FFAB8113065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00176" y="4450035"/>
            <a:ext cx="2748233" cy="16414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Часть команд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Бизнес анализ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Системный анализ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Исполнитель проек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 smtClean="0"/>
              <a:t>Отвечает за продукт</a:t>
            </a:r>
            <a:endParaRPr lang="ru-RU" sz="1800" dirty="0"/>
          </a:p>
        </p:txBody>
      </p:sp>
      <p:sp>
        <p:nvSpPr>
          <p:cNvPr id="30" name="Текст 29">
            <a:extLst>
              <a:ext uri="{FF2B5EF4-FFF2-40B4-BE49-F238E27FC236}">
                <a16:creationId xmlns:a16="http://schemas.microsoft.com/office/drawing/2014/main" id="{074B8F4D-AAE5-EB48-A3F2-37BEEE64A2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0354" y="3779632"/>
            <a:ext cx="2514553" cy="33736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000" dirty="0" smtClean="0"/>
              <a:t>Ведущий аналитик</a:t>
            </a:r>
            <a:endParaRPr lang="ru-RU" sz="2000" dirty="0"/>
          </a:p>
        </p:txBody>
      </p:sp>
      <p:sp>
        <p:nvSpPr>
          <p:cNvPr id="31" name="Текст 30">
            <a:extLst>
              <a:ext uri="{FF2B5EF4-FFF2-40B4-BE49-F238E27FC236}">
                <a16:creationId xmlns:a16="http://schemas.microsoft.com/office/drawing/2014/main" id="{5EEA803A-4584-9B4F-955E-528B387148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15167" y="4450035"/>
            <a:ext cx="2748233" cy="191847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800" dirty="0" smtClean="0"/>
              <a:t>Аналитик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800" dirty="0" smtClean="0"/>
              <a:t>Опы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800" dirty="0" smtClean="0"/>
              <a:t>Лидер проектной команд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800" dirty="0" smtClean="0"/>
              <a:t>Лицо компан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800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9080A62-B717-364E-9C00-BFEE045DFE45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20504" y="1335519"/>
            <a:ext cx="2151380" cy="2151380"/>
          </a:xfrm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882A7D7B-AFC4-FE44-B560-BA9ADC42AC65}"/>
              </a:ext>
            </a:extLst>
          </p:cNvPr>
          <p:cNvSpPr/>
          <p:nvPr/>
        </p:nvSpPr>
        <p:spPr>
          <a:xfrm>
            <a:off x="559718" y="4181117"/>
            <a:ext cx="260734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F2CA2C0D-73C6-3C4B-A7ED-F46030684AF0}"/>
              </a:ext>
            </a:extLst>
          </p:cNvPr>
          <p:cNvSpPr/>
          <p:nvPr/>
        </p:nvSpPr>
        <p:spPr>
          <a:xfrm>
            <a:off x="3402443" y="4181117"/>
            <a:ext cx="260734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71F7A335-61AA-714A-9538-76FB43FB74CB}"/>
              </a:ext>
            </a:extLst>
          </p:cNvPr>
          <p:cNvSpPr/>
          <p:nvPr/>
        </p:nvSpPr>
        <p:spPr>
          <a:xfrm>
            <a:off x="6225071" y="4181117"/>
            <a:ext cx="260734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F8598C7D-7872-3B4A-B874-E4AA05DEAC04}"/>
              </a:ext>
            </a:extLst>
          </p:cNvPr>
          <p:cNvSpPr/>
          <p:nvPr/>
        </p:nvSpPr>
        <p:spPr>
          <a:xfrm>
            <a:off x="9040062" y="4181117"/>
            <a:ext cx="260734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003A5B2-6D14-D147-9EB5-C2C4B298D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Немного о терминах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" name="Рисунок 3">
            <a:extLst>
              <a:ext uri="{FF2B5EF4-FFF2-40B4-BE49-F238E27FC236}">
                <a16:creationId xmlns:a16="http://schemas.microsoft.com/office/drawing/2014/main" id="{DE3697B8-A04D-0540-BCEA-3283809C932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9314" y="1335519"/>
            <a:ext cx="2151380" cy="2151380"/>
          </a:xfrm>
          <a:prstGeom prst="ellipse">
            <a:avLst/>
          </a:prstGeom>
          <a:ln w="571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117499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10">
            <a:extLst>
              <a:ext uri="{FF2B5EF4-FFF2-40B4-BE49-F238E27FC236}">
                <a16:creationId xmlns:a16="http://schemas.microsoft.com/office/drawing/2014/main" id="{7CD8F487-4C7D-984F-A7D0-50041EB5FD27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Области работы ведущего аналитика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Соединительная линия уступом 17">
            <a:extLst>
              <a:ext uri="{FF2B5EF4-FFF2-40B4-BE49-F238E27FC236}">
                <a16:creationId xmlns:a16="http://schemas.microsoft.com/office/drawing/2014/main" id="{C282E860-AE45-C14B-B856-21EDABE94361}"/>
              </a:ext>
            </a:extLst>
          </p:cNvPr>
          <p:cNvCxnSpPr>
            <a:cxnSpLocks/>
            <a:stCxn id="42" idx="0"/>
            <a:endCxn id="23" idx="2"/>
          </p:cNvCxnSpPr>
          <p:nvPr/>
        </p:nvCxnSpPr>
        <p:spPr>
          <a:xfrm rot="5400000" flipH="1" flipV="1">
            <a:off x="1274926" y="2873299"/>
            <a:ext cx="1146476" cy="466"/>
          </a:xfrm>
          <a:prstGeom prst="bentConnector3">
            <a:avLst>
              <a:gd name="adj1" fmla="val 50000"/>
            </a:avLst>
          </a:prstGeom>
          <a:ln w="28575" cap="rnd"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ная линия уступом 18">
            <a:extLst>
              <a:ext uri="{FF2B5EF4-FFF2-40B4-BE49-F238E27FC236}">
                <a16:creationId xmlns:a16="http://schemas.microsoft.com/office/drawing/2014/main" id="{FF492BB8-952C-754E-A3E8-20E00A27A049}"/>
              </a:ext>
            </a:extLst>
          </p:cNvPr>
          <p:cNvCxnSpPr>
            <a:cxnSpLocks/>
            <a:stCxn id="45" idx="0"/>
          </p:cNvCxnSpPr>
          <p:nvPr/>
        </p:nvCxnSpPr>
        <p:spPr>
          <a:xfrm rot="16200000" flipV="1">
            <a:off x="6629340" y="2353370"/>
            <a:ext cx="574030" cy="1612770"/>
          </a:xfrm>
          <a:prstGeom prst="bentConnector2">
            <a:avLst/>
          </a:prstGeom>
          <a:ln w="28575" cap="rnd"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6C60E2A8-25FB-064D-B76B-0C9087FBBAFF}"/>
              </a:ext>
            </a:extLst>
          </p:cNvPr>
          <p:cNvCxnSpPr>
            <a:cxnSpLocks/>
            <a:stCxn id="43" idx="0"/>
            <a:endCxn id="28" idx="2"/>
          </p:cNvCxnSpPr>
          <p:nvPr/>
        </p:nvCxnSpPr>
        <p:spPr>
          <a:xfrm rot="16200000" flipV="1">
            <a:off x="9740414" y="2870965"/>
            <a:ext cx="1146476" cy="5134"/>
          </a:xfrm>
          <a:prstGeom prst="bentConnector3">
            <a:avLst>
              <a:gd name="adj1" fmla="val 50000"/>
            </a:avLst>
          </a:prstGeom>
          <a:ln w="28575" cap="rnd"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Соединительная линия уступом 33">
            <a:extLst>
              <a:ext uri="{FF2B5EF4-FFF2-40B4-BE49-F238E27FC236}">
                <a16:creationId xmlns:a16="http://schemas.microsoft.com/office/drawing/2014/main" id="{A9995E0C-F474-3F48-A495-3C7A200D859D}"/>
              </a:ext>
            </a:extLst>
          </p:cNvPr>
          <p:cNvCxnSpPr>
            <a:cxnSpLocks/>
            <a:stCxn id="44" idx="0"/>
            <a:endCxn id="24" idx="2"/>
          </p:cNvCxnSpPr>
          <p:nvPr/>
        </p:nvCxnSpPr>
        <p:spPr>
          <a:xfrm rot="5400000" flipH="1" flipV="1">
            <a:off x="5503823" y="2870853"/>
            <a:ext cx="1146476" cy="5358"/>
          </a:xfrm>
          <a:prstGeom prst="bentConnector3">
            <a:avLst>
              <a:gd name="adj1" fmla="val 50000"/>
            </a:avLst>
          </a:prstGeom>
          <a:ln w="28575" cap="rnd"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E82F271D-1937-E94D-B93F-1673AE8CC673}"/>
              </a:ext>
            </a:extLst>
          </p:cNvPr>
          <p:cNvSpPr/>
          <p:nvPr/>
        </p:nvSpPr>
        <p:spPr>
          <a:xfrm>
            <a:off x="5037804" y="1823288"/>
            <a:ext cx="20890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ласти</a:t>
            </a:r>
            <a:endParaRPr lang="en" sz="2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6D2C7371-B4E8-7D49-9C7C-F53E39302C44}"/>
              </a:ext>
            </a:extLst>
          </p:cNvPr>
          <p:cNvSpPr/>
          <p:nvPr/>
        </p:nvSpPr>
        <p:spPr>
          <a:xfrm>
            <a:off x="699978" y="4539648"/>
            <a:ext cx="22861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оекты</a:t>
            </a:r>
            <a:endParaRPr lang="en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A8FCFB5F-37CA-854B-8ABC-42F399CAD29C}"/>
              </a:ext>
            </a:extLst>
          </p:cNvPr>
          <p:cNvSpPr/>
          <p:nvPr/>
        </p:nvSpPr>
        <p:spPr>
          <a:xfrm>
            <a:off x="9167988" y="4539648"/>
            <a:ext cx="22861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ресейлы</a:t>
            </a:r>
            <a:endParaRPr lang="e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106C90F-9618-204F-BB90-0A5A32BE8760}"/>
              </a:ext>
            </a:extLst>
          </p:cNvPr>
          <p:cNvSpPr/>
          <p:nvPr/>
        </p:nvSpPr>
        <p:spPr>
          <a:xfrm>
            <a:off x="4940113" y="4539648"/>
            <a:ext cx="226853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анда аналитиков</a:t>
            </a:r>
            <a:endParaRPr lang="e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C8221685-F550-A84F-B09D-B235708DEE02}"/>
              </a:ext>
            </a:extLst>
          </p:cNvPr>
          <p:cNvSpPr/>
          <p:nvPr/>
        </p:nvSpPr>
        <p:spPr>
          <a:xfrm>
            <a:off x="6593469" y="4539648"/>
            <a:ext cx="224663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База знаний</a:t>
            </a:r>
            <a:endParaRPr lang="e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9823300" y="3446770"/>
            <a:ext cx="985838" cy="985838"/>
            <a:chOff x="3585742" y="3729043"/>
            <a:chExt cx="985838" cy="985838"/>
          </a:xfrm>
        </p:grpSpPr>
        <p:sp>
          <p:nvSpPr>
            <p:cNvPr id="43" name="Овал 42">
              <a:extLst>
                <a:ext uri="{FF2B5EF4-FFF2-40B4-BE49-F238E27FC236}">
                  <a16:creationId xmlns:a16="http://schemas.microsoft.com/office/drawing/2014/main" id="{D2EE2DE3-A862-984B-A133-A45CB9D6D68C}"/>
                </a:ext>
              </a:extLst>
            </p:cNvPr>
            <p:cNvSpPr/>
            <p:nvPr/>
          </p:nvSpPr>
          <p:spPr>
            <a:xfrm>
              <a:off x="3585742" y="3729043"/>
              <a:ext cx="985838" cy="9858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AC6FEAA3-73F9-1F42-8015-E53413F78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722151" y="3887970"/>
              <a:ext cx="647700" cy="5842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7229821" y="3446770"/>
            <a:ext cx="985838" cy="985838"/>
            <a:chOff x="10735045" y="3729043"/>
            <a:chExt cx="985838" cy="985838"/>
          </a:xfrm>
        </p:grpSpPr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D225E94C-081C-9544-82E6-46D045BBED2B}"/>
                </a:ext>
              </a:extLst>
            </p:cNvPr>
            <p:cNvSpPr/>
            <p:nvPr/>
          </p:nvSpPr>
          <p:spPr>
            <a:xfrm>
              <a:off x="10735045" y="3729043"/>
              <a:ext cx="985838" cy="9858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35441C84-0B9C-1F4F-BFDF-DA94DB1691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985469" y="3946935"/>
              <a:ext cx="609600" cy="520700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5535100" y="3446770"/>
            <a:ext cx="1066800" cy="985838"/>
            <a:chOff x="7913663" y="3729043"/>
            <a:chExt cx="1066800" cy="985838"/>
          </a:xfrm>
        </p:grpSpPr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B8E0D7EE-CBB1-6845-A19B-0517F742F666}"/>
                </a:ext>
              </a:extLst>
            </p:cNvPr>
            <p:cNvSpPr/>
            <p:nvPr/>
          </p:nvSpPr>
          <p:spPr>
            <a:xfrm>
              <a:off x="7960026" y="3729043"/>
              <a:ext cx="985838" cy="9858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E0DF875C-3A11-A04F-9060-5EFEBFDB6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913663" y="3859662"/>
              <a:ext cx="1066800" cy="698500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1355012" y="3446770"/>
            <a:ext cx="985838" cy="985838"/>
            <a:chOff x="810722" y="3729043"/>
            <a:chExt cx="985838" cy="985838"/>
          </a:xfrm>
        </p:grpSpPr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77CAB65E-E812-5545-8C15-48C21B0E50EF}"/>
                </a:ext>
              </a:extLst>
            </p:cNvPr>
            <p:cNvSpPr/>
            <p:nvPr/>
          </p:nvSpPr>
          <p:spPr>
            <a:xfrm>
              <a:off x="810722" y="3729043"/>
              <a:ext cx="985838" cy="9858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741B41EB-A959-3543-A61E-B5EE815C2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28792" y="3921970"/>
              <a:ext cx="539985" cy="599983"/>
            </a:xfrm>
            <a:prstGeom prst="rect">
              <a:avLst/>
            </a:prstGeom>
          </p:spPr>
        </p:pic>
      </p:grpSp>
      <p:sp>
        <p:nvSpPr>
          <p:cNvPr id="23" name="Text Placeholder 2"/>
          <p:cNvSpPr txBox="1">
            <a:spLocks/>
          </p:cNvSpPr>
          <p:nvPr/>
        </p:nvSpPr>
        <p:spPr>
          <a:xfrm>
            <a:off x="237335" y="1832271"/>
            <a:ext cx="3222123" cy="468023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6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2000" dirty="0" smtClean="0"/>
              <a:t>Производство</a:t>
            </a:r>
            <a:endParaRPr lang="ru-RU" sz="2000" dirty="0"/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4371000" y="1832271"/>
            <a:ext cx="3417480" cy="468023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6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2000" dirty="0" smtClean="0"/>
              <a:t>Развитие направления</a:t>
            </a:r>
            <a:endParaRPr lang="ru-RU" sz="2000" dirty="0"/>
          </a:p>
        </p:txBody>
      </p:sp>
      <p:sp>
        <p:nvSpPr>
          <p:cNvPr id="22" name="Прямоугольник 40">
            <a:extLst>
              <a:ext uri="{FF2B5EF4-FFF2-40B4-BE49-F238E27FC236}">
                <a16:creationId xmlns:a16="http://schemas.microsoft.com/office/drawing/2014/main" id="{C8221685-F550-A84F-B09D-B235708DEE02}"/>
              </a:ext>
            </a:extLst>
          </p:cNvPr>
          <p:cNvSpPr/>
          <p:nvPr/>
        </p:nvSpPr>
        <p:spPr>
          <a:xfrm>
            <a:off x="3282064" y="4539648"/>
            <a:ext cx="224663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оцессы </a:t>
            </a:r>
            <a:endParaRPr lang="e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Соединительная линия уступом 33">
            <a:extLst>
              <a:ext uri="{FF2B5EF4-FFF2-40B4-BE49-F238E27FC236}">
                <a16:creationId xmlns:a16="http://schemas.microsoft.com/office/drawing/2014/main" id="{A9995E0C-F474-3F48-A495-3C7A200D859D}"/>
              </a:ext>
            </a:extLst>
          </p:cNvPr>
          <p:cNvCxnSpPr>
            <a:cxnSpLocks/>
            <a:stCxn id="26" idx="0"/>
          </p:cNvCxnSpPr>
          <p:nvPr/>
        </p:nvCxnSpPr>
        <p:spPr>
          <a:xfrm rot="5400000" flipH="1" flipV="1">
            <a:off x="4972490" y="2314510"/>
            <a:ext cx="527183" cy="1643643"/>
          </a:xfrm>
          <a:prstGeom prst="bentConnector2">
            <a:avLst/>
          </a:prstGeom>
          <a:ln w="28575" cap="rnd"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urved Connector 4"/>
          <p:cNvCxnSpPr>
            <a:stCxn id="22" idx="2"/>
            <a:endCxn id="39" idx="2"/>
          </p:cNvCxnSpPr>
          <p:nvPr/>
        </p:nvCxnSpPr>
        <p:spPr>
          <a:xfrm rot="16200000" flipH="1">
            <a:off x="7358232" y="1986906"/>
            <a:ext cx="12700" cy="5905703"/>
          </a:xfrm>
          <a:prstGeom prst="curvedConnector3">
            <a:avLst>
              <a:gd name="adj1" fmla="val 6220252"/>
            </a:avLst>
          </a:prstGeom>
          <a:ln w="19050">
            <a:solidFill>
              <a:schemeClr val="tx1"/>
            </a:solidFill>
            <a:prstDash val="sysDot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2" idx="2"/>
            <a:endCxn id="38" idx="2"/>
          </p:cNvCxnSpPr>
          <p:nvPr/>
        </p:nvCxnSpPr>
        <p:spPr>
          <a:xfrm rot="5400000">
            <a:off x="3124228" y="3658605"/>
            <a:ext cx="12700" cy="2562307"/>
          </a:xfrm>
          <a:prstGeom prst="curvedConnector3">
            <a:avLst>
              <a:gd name="adj1" fmla="val 4116520"/>
            </a:avLst>
          </a:prstGeom>
          <a:ln w="19050">
            <a:solidFill>
              <a:schemeClr val="tx1"/>
            </a:solidFill>
            <a:prstDash val="sysDot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/>
        </p:nvGrpSpPr>
        <p:grpSpPr>
          <a:xfrm>
            <a:off x="3921341" y="3399922"/>
            <a:ext cx="985838" cy="985838"/>
            <a:chOff x="5837239" y="3682195"/>
            <a:chExt cx="985838" cy="985838"/>
          </a:xfrm>
        </p:grpSpPr>
        <p:sp>
          <p:nvSpPr>
            <p:cNvPr id="26" name="Овал 43">
              <a:extLst>
                <a:ext uri="{FF2B5EF4-FFF2-40B4-BE49-F238E27FC236}">
                  <a16:creationId xmlns:a16="http://schemas.microsoft.com/office/drawing/2014/main" id="{B8E0D7EE-CBB1-6845-A19B-0517F742F666}"/>
                </a:ext>
              </a:extLst>
            </p:cNvPr>
            <p:cNvSpPr/>
            <p:nvPr/>
          </p:nvSpPr>
          <p:spPr>
            <a:xfrm>
              <a:off x="5837239" y="3682195"/>
              <a:ext cx="985838" cy="9858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Рисунок 478">
              <a:extLst>
                <a:ext uri="{FF2B5EF4-FFF2-40B4-BE49-F238E27FC236}">
                  <a16:creationId xmlns:a16="http://schemas.microsoft.com/office/drawing/2014/main" id="{BCCFF2BB-699B-FA46-8947-93B397D61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9"/>
                </a:ext>
              </a:extLst>
            </a:blip>
            <a:stretch>
              <a:fillRect/>
            </a:stretch>
          </p:blipFill>
          <p:spPr>
            <a:xfrm>
              <a:off x="5933379" y="3859662"/>
              <a:ext cx="785566" cy="68466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" name="Text Placeholder 2"/>
          <p:cNvSpPr txBox="1">
            <a:spLocks/>
          </p:cNvSpPr>
          <p:nvPr/>
        </p:nvSpPr>
        <p:spPr>
          <a:xfrm>
            <a:off x="8700023" y="1832271"/>
            <a:ext cx="3222123" cy="468023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6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2000" dirty="0" smtClean="0"/>
              <a:t>Поддержка продаж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23340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Заголовок 4">
            <a:extLst>
              <a:ext uri="{FF2B5EF4-FFF2-40B4-BE49-F238E27FC236}">
                <a16:creationId xmlns:a16="http://schemas.microsoft.com/office/drawing/2014/main" id="{D247E9CC-A475-D94F-94A3-8549F13BDF92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Проекты (1/3)</a:t>
            </a:r>
            <a:endParaRPr lang="ru-RU" dirty="0"/>
          </a:p>
        </p:txBody>
      </p:sp>
      <p:sp>
        <p:nvSpPr>
          <p:cNvPr id="54" name="Текст 61">
            <a:extLst>
              <a:ext uri="{FF2B5EF4-FFF2-40B4-BE49-F238E27FC236}">
                <a16:creationId xmlns:a16="http://schemas.microsoft.com/office/drawing/2014/main" id="{C0635EAB-E9D0-9A46-9837-0957FEA0F03A}"/>
              </a:ext>
            </a:extLst>
          </p:cNvPr>
          <p:cNvSpPr txBox="1">
            <a:spLocks/>
          </p:cNvSpPr>
          <p:nvPr/>
        </p:nvSpPr>
        <p:spPr>
          <a:xfrm>
            <a:off x="724619" y="2691048"/>
            <a:ext cx="2027681" cy="1619881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1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/>
              <a:t>Участие в планировании работ</a:t>
            </a:r>
          </a:p>
          <a:p>
            <a:r>
              <a:rPr lang="ru-RU" sz="1600" dirty="0" smtClean="0"/>
              <a:t>Участие в управлении рисками</a:t>
            </a:r>
            <a:endParaRPr lang="ru-RU" sz="1600" dirty="0"/>
          </a:p>
        </p:txBody>
      </p:sp>
      <p:sp>
        <p:nvSpPr>
          <p:cNvPr id="55" name="Текст 61">
            <a:extLst>
              <a:ext uri="{FF2B5EF4-FFF2-40B4-BE49-F238E27FC236}">
                <a16:creationId xmlns:a16="http://schemas.microsoft.com/office/drawing/2014/main" id="{82F9C007-83E0-6C42-98A7-F5E6E3CD6E91}"/>
              </a:ext>
            </a:extLst>
          </p:cNvPr>
          <p:cNvSpPr txBox="1">
            <a:spLocks/>
          </p:cNvSpPr>
          <p:nvPr/>
        </p:nvSpPr>
        <p:spPr>
          <a:xfrm>
            <a:off x="3062657" y="3807410"/>
            <a:ext cx="2012658" cy="1286231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1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/>
              <a:t>Обследование процессов</a:t>
            </a:r>
          </a:p>
          <a:p>
            <a:r>
              <a:rPr lang="ru-RU" sz="1600" dirty="0" smtClean="0"/>
              <a:t>Сбор и работа с требованиями</a:t>
            </a:r>
          </a:p>
        </p:txBody>
      </p:sp>
      <p:sp>
        <p:nvSpPr>
          <p:cNvPr id="56" name="Текст 61">
            <a:extLst>
              <a:ext uri="{FF2B5EF4-FFF2-40B4-BE49-F238E27FC236}">
                <a16:creationId xmlns:a16="http://schemas.microsoft.com/office/drawing/2014/main" id="{813A8B05-43E9-F149-BE1C-66312A8B88E3}"/>
              </a:ext>
            </a:extLst>
          </p:cNvPr>
          <p:cNvSpPr txBox="1">
            <a:spLocks/>
          </p:cNvSpPr>
          <p:nvPr/>
        </p:nvSpPr>
        <p:spPr>
          <a:xfrm>
            <a:off x="5328406" y="2691048"/>
            <a:ext cx="2281713" cy="2390656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1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/>
              <a:t>Функциональное и объектное проектирование</a:t>
            </a:r>
          </a:p>
          <a:p>
            <a:r>
              <a:rPr lang="ru-RU" sz="1600" dirty="0" smtClean="0"/>
              <a:t>Обеспечение функциональной целостности</a:t>
            </a:r>
          </a:p>
          <a:p>
            <a:r>
              <a:rPr lang="ru-RU" sz="1600" dirty="0" smtClean="0"/>
              <a:t>Участие в техническом проектировании</a:t>
            </a:r>
          </a:p>
        </p:txBody>
      </p:sp>
      <p:sp>
        <p:nvSpPr>
          <p:cNvPr id="57" name="Текст 61">
            <a:extLst>
              <a:ext uri="{FF2B5EF4-FFF2-40B4-BE49-F238E27FC236}">
                <a16:creationId xmlns:a16="http://schemas.microsoft.com/office/drawing/2014/main" id="{22AC6088-CE3A-A441-A6DD-941EB6A6DD9A}"/>
              </a:ext>
            </a:extLst>
          </p:cNvPr>
          <p:cNvSpPr txBox="1">
            <a:spLocks/>
          </p:cNvSpPr>
          <p:nvPr/>
        </p:nvSpPr>
        <p:spPr>
          <a:xfrm>
            <a:off x="7786711" y="3819618"/>
            <a:ext cx="2010153" cy="1590582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1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/>
              <a:t>Настройка решения</a:t>
            </a:r>
          </a:p>
          <a:p>
            <a:r>
              <a:rPr lang="ru-RU" sz="1600" dirty="0" smtClean="0"/>
              <a:t>Обеспечение качества решения</a:t>
            </a:r>
          </a:p>
          <a:p>
            <a:endParaRPr lang="ru-RU" sz="1600" dirty="0"/>
          </a:p>
        </p:txBody>
      </p:sp>
      <p:sp>
        <p:nvSpPr>
          <p:cNvPr id="58" name="Текст 61">
            <a:extLst>
              <a:ext uri="{FF2B5EF4-FFF2-40B4-BE49-F238E27FC236}">
                <a16:creationId xmlns:a16="http://schemas.microsoft.com/office/drawing/2014/main" id="{61DE0BE5-C4C2-454B-9B74-9BE267435675}"/>
              </a:ext>
            </a:extLst>
          </p:cNvPr>
          <p:cNvSpPr txBox="1">
            <a:spLocks/>
          </p:cNvSpPr>
          <p:nvPr/>
        </p:nvSpPr>
        <p:spPr>
          <a:xfrm>
            <a:off x="10056595" y="2691047"/>
            <a:ext cx="2167661" cy="1674154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1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/>
              <a:t>Разработка документации</a:t>
            </a:r>
          </a:p>
          <a:p>
            <a:r>
              <a:rPr lang="ru-RU" sz="1600" dirty="0" smtClean="0"/>
              <a:t>Проведение обучения</a:t>
            </a:r>
          </a:p>
          <a:p>
            <a:r>
              <a:rPr lang="ru-RU" sz="1600" dirty="0" smtClean="0"/>
              <a:t>Проведение ПСИ</a:t>
            </a:r>
          </a:p>
          <a:p>
            <a:r>
              <a:rPr lang="ru-RU" sz="1600" dirty="0" smtClean="0"/>
              <a:t>Проведение ОПЭ</a:t>
            </a:r>
          </a:p>
          <a:p>
            <a:endParaRPr lang="ru-RU" sz="1600" dirty="0" smtClean="0"/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7A6259E9-5F50-D141-98B6-8491A7F8932C}"/>
              </a:ext>
            </a:extLst>
          </p:cNvPr>
          <p:cNvCxnSpPr/>
          <p:nvPr/>
        </p:nvCxnSpPr>
        <p:spPr>
          <a:xfrm flipV="1">
            <a:off x="425570" y="2338245"/>
            <a:ext cx="0" cy="593701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116638" y="2667925"/>
            <a:ext cx="617864" cy="574130"/>
            <a:chOff x="78537" y="2902770"/>
            <a:chExt cx="617864" cy="574130"/>
          </a:xfrm>
        </p:grpSpPr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id="{F3582F92-99D6-2D4A-A7A6-BC033C4B29CF}"/>
                </a:ext>
              </a:extLst>
            </p:cNvPr>
            <p:cNvSpPr/>
            <p:nvPr/>
          </p:nvSpPr>
          <p:spPr>
            <a:xfrm>
              <a:off x="78537" y="2902770"/>
              <a:ext cx="617864" cy="5741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id="{0BAF4028-772B-4D43-89C5-7C9311F13D89}"/>
                </a:ext>
              </a:extLst>
            </p:cNvPr>
            <p:cNvSpPr/>
            <p:nvPr/>
          </p:nvSpPr>
          <p:spPr>
            <a:xfrm>
              <a:off x="93529" y="2956261"/>
              <a:ext cx="583221" cy="4741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01</a:t>
              </a:r>
              <a:endPara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endParaRPr>
            </a:p>
          </p:txBody>
        </p:sp>
      </p:grpSp>
      <p:sp>
        <p:nvSpPr>
          <p:cNvPr id="63" name="Нашивка 62">
            <a:extLst>
              <a:ext uri="{FF2B5EF4-FFF2-40B4-BE49-F238E27FC236}">
                <a16:creationId xmlns:a16="http://schemas.microsoft.com/office/drawing/2014/main" id="{50032443-E933-4E47-ABF9-A8D19AAFE4A6}"/>
              </a:ext>
            </a:extLst>
          </p:cNvPr>
          <p:cNvSpPr/>
          <p:nvPr/>
        </p:nvSpPr>
        <p:spPr>
          <a:xfrm>
            <a:off x="153036" y="1733543"/>
            <a:ext cx="2447514" cy="610075"/>
          </a:xfrm>
          <a:prstGeom prst="chevron">
            <a:avLst>
              <a:gd name="adj" fmla="val 334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4" name="Текст 61">
            <a:extLst>
              <a:ext uri="{FF2B5EF4-FFF2-40B4-BE49-F238E27FC236}">
                <a16:creationId xmlns:a16="http://schemas.microsoft.com/office/drawing/2014/main" id="{6AF69CF4-6F54-7147-8FF8-D15FBD16F3A6}"/>
              </a:ext>
            </a:extLst>
          </p:cNvPr>
          <p:cNvSpPr txBox="1">
            <a:spLocks/>
          </p:cNvSpPr>
          <p:nvPr/>
        </p:nvSpPr>
        <p:spPr>
          <a:xfrm>
            <a:off x="306099" y="1872429"/>
            <a:ext cx="2141389" cy="282039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chemeClr val="bg1"/>
                </a:solidFill>
              </a:rPr>
              <a:t>Планирование</a:t>
            </a:r>
            <a:endParaRPr lang="ru-RU" sz="1800" dirty="0">
              <a:solidFill>
                <a:schemeClr val="bg1"/>
              </a:solidFill>
            </a:endParaRPr>
          </a:p>
        </p:txBody>
      </p:sp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0F0C46AD-97E9-BD48-ADFD-D5BDF44E7D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01603" y="1037006"/>
            <a:ext cx="678582" cy="630550"/>
          </a:xfrm>
          <a:prstGeom prst="rect">
            <a:avLst/>
          </a:prstGeom>
        </p:spPr>
      </p:pic>
      <p:sp>
        <p:nvSpPr>
          <p:cNvPr id="71" name="Нашивка 70">
            <a:extLst>
              <a:ext uri="{FF2B5EF4-FFF2-40B4-BE49-F238E27FC236}">
                <a16:creationId xmlns:a16="http://schemas.microsoft.com/office/drawing/2014/main" id="{34C3D4E9-3B47-DC46-9C75-B378572EB647}"/>
              </a:ext>
            </a:extLst>
          </p:cNvPr>
          <p:cNvSpPr/>
          <p:nvPr/>
        </p:nvSpPr>
        <p:spPr>
          <a:xfrm>
            <a:off x="7148847" y="1733543"/>
            <a:ext cx="2447514" cy="610075"/>
          </a:xfrm>
          <a:prstGeom prst="chevron">
            <a:avLst>
              <a:gd name="adj" fmla="val 334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7402EEBA-1994-5C43-A682-F3282139F61B}"/>
              </a:ext>
            </a:extLst>
          </p:cNvPr>
          <p:cNvCxnSpPr>
            <a:cxnSpLocks/>
            <a:stCxn id="78" idx="0"/>
          </p:cNvCxnSpPr>
          <p:nvPr/>
        </p:nvCxnSpPr>
        <p:spPr>
          <a:xfrm flipV="1">
            <a:off x="7468900" y="2338245"/>
            <a:ext cx="0" cy="1498572"/>
          </a:xfrm>
          <a:prstGeom prst="line">
            <a:avLst/>
          </a:prstGeom>
          <a:ln w="1905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7151089" y="3769418"/>
            <a:ext cx="617864" cy="574130"/>
            <a:chOff x="7298115" y="4144441"/>
            <a:chExt cx="617864" cy="574130"/>
          </a:xfrm>
        </p:grpSpPr>
        <p:sp>
          <p:nvSpPr>
            <p:cNvPr id="77" name="Овал 76">
              <a:extLst>
                <a:ext uri="{FF2B5EF4-FFF2-40B4-BE49-F238E27FC236}">
                  <a16:creationId xmlns:a16="http://schemas.microsoft.com/office/drawing/2014/main" id="{0D2A1F75-98E5-6D4C-B755-DF6E6B7C30A0}"/>
                </a:ext>
              </a:extLst>
            </p:cNvPr>
            <p:cNvSpPr/>
            <p:nvPr/>
          </p:nvSpPr>
          <p:spPr>
            <a:xfrm>
              <a:off x="7298115" y="4144441"/>
              <a:ext cx="617864" cy="5741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 77">
              <a:extLst>
                <a:ext uri="{FF2B5EF4-FFF2-40B4-BE49-F238E27FC236}">
                  <a16:creationId xmlns:a16="http://schemas.microsoft.com/office/drawing/2014/main" id="{8408727B-3CD4-594A-9DF6-E6847627014D}"/>
                </a:ext>
              </a:extLst>
            </p:cNvPr>
            <p:cNvSpPr/>
            <p:nvPr/>
          </p:nvSpPr>
          <p:spPr>
            <a:xfrm>
              <a:off x="7318115" y="4211840"/>
              <a:ext cx="595621" cy="4741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04</a:t>
              </a:r>
              <a:endPara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endParaRPr>
            </a:p>
          </p:txBody>
        </p:sp>
      </p:grpSp>
      <p:sp>
        <p:nvSpPr>
          <p:cNvPr id="73" name="Текст 61">
            <a:extLst>
              <a:ext uri="{FF2B5EF4-FFF2-40B4-BE49-F238E27FC236}">
                <a16:creationId xmlns:a16="http://schemas.microsoft.com/office/drawing/2014/main" id="{B7766DFB-84B3-CE47-9F4F-638E60D55FE2}"/>
              </a:ext>
            </a:extLst>
          </p:cNvPr>
          <p:cNvSpPr txBox="1">
            <a:spLocks/>
          </p:cNvSpPr>
          <p:nvPr/>
        </p:nvSpPr>
        <p:spPr>
          <a:xfrm>
            <a:off x="7314751" y="1754282"/>
            <a:ext cx="2141388" cy="471684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chemeClr val="bg1"/>
                </a:solidFill>
              </a:rPr>
              <a:t>Разработка и тестирование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82" name="Нашивка 81">
            <a:extLst>
              <a:ext uri="{FF2B5EF4-FFF2-40B4-BE49-F238E27FC236}">
                <a16:creationId xmlns:a16="http://schemas.microsoft.com/office/drawing/2014/main" id="{0CC65FCA-1D15-724F-AE51-C810366648CC}"/>
              </a:ext>
            </a:extLst>
          </p:cNvPr>
          <p:cNvSpPr/>
          <p:nvPr/>
        </p:nvSpPr>
        <p:spPr>
          <a:xfrm>
            <a:off x="4816911" y="1733543"/>
            <a:ext cx="2447514" cy="610075"/>
          </a:xfrm>
          <a:prstGeom prst="chevron">
            <a:avLst>
              <a:gd name="adj" fmla="val 334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888364B2-1A47-7042-9E21-AB33C2DB567A}"/>
              </a:ext>
            </a:extLst>
          </p:cNvPr>
          <p:cNvCxnSpPr/>
          <p:nvPr/>
        </p:nvCxnSpPr>
        <p:spPr>
          <a:xfrm flipV="1">
            <a:off x="5075315" y="2338245"/>
            <a:ext cx="0" cy="593701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4742865" y="2667925"/>
            <a:ext cx="617864" cy="574130"/>
            <a:chOff x="4682324" y="2902770"/>
            <a:chExt cx="617864" cy="574130"/>
          </a:xfrm>
        </p:grpSpPr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id="{689D71A7-3E19-D844-A206-903FD56E5A18}"/>
                </a:ext>
              </a:extLst>
            </p:cNvPr>
            <p:cNvSpPr/>
            <p:nvPr/>
          </p:nvSpPr>
          <p:spPr>
            <a:xfrm>
              <a:off x="4682324" y="2902770"/>
              <a:ext cx="617864" cy="5741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7AA69AD3-C593-8942-8811-B6C13F6F0E0C}"/>
                </a:ext>
              </a:extLst>
            </p:cNvPr>
            <p:cNvSpPr/>
            <p:nvPr/>
          </p:nvSpPr>
          <p:spPr>
            <a:xfrm>
              <a:off x="4693772" y="2961871"/>
              <a:ext cx="590306" cy="4741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03</a:t>
              </a:r>
              <a:endPara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endParaRPr>
            </a:p>
          </p:txBody>
        </p:sp>
      </p:grpSp>
      <p:sp>
        <p:nvSpPr>
          <p:cNvPr id="84" name="Текст 61">
            <a:extLst>
              <a:ext uri="{FF2B5EF4-FFF2-40B4-BE49-F238E27FC236}">
                <a16:creationId xmlns:a16="http://schemas.microsoft.com/office/drawing/2014/main" id="{70EA4FFD-A8DD-9B4E-AF26-C78FFAF13378}"/>
              </a:ext>
            </a:extLst>
          </p:cNvPr>
          <p:cNvSpPr txBox="1">
            <a:spLocks/>
          </p:cNvSpPr>
          <p:nvPr/>
        </p:nvSpPr>
        <p:spPr>
          <a:xfrm>
            <a:off x="4987599" y="1866695"/>
            <a:ext cx="2141388" cy="282039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chemeClr val="bg1"/>
                </a:solidFill>
              </a:rPr>
              <a:t>Проектирование</a:t>
            </a:r>
            <a:endParaRPr lang="ru-RU" sz="1800" dirty="0">
              <a:solidFill>
                <a:schemeClr val="bg1"/>
              </a:solidFill>
            </a:endParaRPr>
          </a:p>
        </p:txBody>
      </p:sp>
      <p:cxnSp>
        <p:nvCxnSpPr>
          <p:cNvPr id="107" name="Прямая соединительная линия 106">
            <a:extLst>
              <a:ext uri="{FF2B5EF4-FFF2-40B4-BE49-F238E27FC236}">
                <a16:creationId xmlns:a16="http://schemas.microsoft.com/office/drawing/2014/main" id="{131C8465-2833-554D-8411-62CCA375D2C2}"/>
              </a:ext>
            </a:extLst>
          </p:cNvPr>
          <p:cNvCxnSpPr>
            <a:cxnSpLocks/>
            <a:stCxn id="113" idx="0"/>
          </p:cNvCxnSpPr>
          <p:nvPr/>
        </p:nvCxnSpPr>
        <p:spPr>
          <a:xfrm flipV="1">
            <a:off x="2798498" y="2338246"/>
            <a:ext cx="0" cy="1498570"/>
          </a:xfrm>
          <a:prstGeom prst="line">
            <a:avLst/>
          </a:prstGeom>
          <a:ln w="1905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2480688" y="3769418"/>
            <a:ext cx="617864" cy="574130"/>
            <a:chOff x="2683814" y="4144441"/>
            <a:chExt cx="617864" cy="574130"/>
          </a:xfrm>
        </p:grpSpPr>
        <p:sp>
          <p:nvSpPr>
            <p:cNvPr id="109" name="Овал 108">
              <a:extLst>
                <a:ext uri="{FF2B5EF4-FFF2-40B4-BE49-F238E27FC236}">
                  <a16:creationId xmlns:a16="http://schemas.microsoft.com/office/drawing/2014/main" id="{357A37CF-BC2D-C245-A692-62CAF92EC695}"/>
                </a:ext>
              </a:extLst>
            </p:cNvPr>
            <p:cNvSpPr/>
            <p:nvPr/>
          </p:nvSpPr>
          <p:spPr>
            <a:xfrm>
              <a:off x="2683814" y="4144441"/>
              <a:ext cx="617864" cy="5741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3" name="Прямоугольник 112">
              <a:extLst>
                <a:ext uri="{FF2B5EF4-FFF2-40B4-BE49-F238E27FC236}">
                  <a16:creationId xmlns:a16="http://schemas.microsoft.com/office/drawing/2014/main" id="{87590EDD-52AD-6044-8AEB-19AF8B9204D8}"/>
                </a:ext>
              </a:extLst>
            </p:cNvPr>
            <p:cNvSpPr/>
            <p:nvPr/>
          </p:nvSpPr>
          <p:spPr>
            <a:xfrm>
              <a:off x="2707357" y="4211839"/>
              <a:ext cx="588534" cy="4741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0</a:t>
              </a:r>
              <a:r>
                <a:rPr lang="en-US" sz="2400" b="1" dirty="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2</a:t>
              </a:r>
            </a:p>
          </p:txBody>
        </p:sp>
      </p:grpSp>
      <p:sp>
        <p:nvSpPr>
          <p:cNvPr id="97" name="Нашивка 96">
            <a:extLst>
              <a:ext uri="{FF2B5EF4-FFF2-40B4-BE49-F238E27FC236}">
                <a16:creationId xmlns:a16="http://schemas.microsoft.com/office/drawing/2014/main" id="{E4ACD757-338D-1540-ACE1-44FAEEB8125A}"/>
              </a:ext>
            </a:extLst>
          </p:cNvPr>
          <p:cNvSpPr/>
          <p:nvPr/>
        </p:nvSpPr>
        <p:spPr>
          <a:xfrm>
            <a:off x="2484974" y="1733542"/>
            <a:ext cx="2447514" cy="610075"/>
          </a:xfrm>
          <a:prstGeom prst="chevron">
            <a:avLst>
              <a:gd name="adj" fmla="val 334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8" name="Текст 61">
            <a:extLst>
              <a:ext uri="{FF2B5EF4-FFF2-40B4-BE49-F238E27FC236}">
                <a16:creationId xmlns:a16="http://schemas.microsoft.com/office/drawing/2014/main" id="{3118B2BC-2CC7-6448-9A03-90B33D55A5A9}"/>
              </a:ext>
            </a:extLst>
          </p:cNvPr>
          <p:cNvSpPr txBox="1">
            <a:spLocks/>
          </p:cNvSpPr>
          <p:nvPr/>
        </p:nvSpPr>
        <p:spPr>
          <a:xfrm>
            <a:off x="2635803" y="1878632"/>
            <a:ext cx="2141388" cy="282039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chemeClr val="bg1"/>
                </a:solidFill>
              </a:rPr>
              <a:t>Определение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115" name="Нашивка 114">
            <a:extLst>
              <a:ext uri="{FF2B5EF4-FFF2-40B4-BE49-F238E27FC236}">
                <a16:creationId xmlns:a16="http://schemas.microsoft.com/office/drawing/2014/main" id="{09056EEF-0160-DD49-8B91-2F91677193CB}"/>
              </a:ext>
            </a:extLst>
          </p:cNvPr>
          <p:cNvSpPr/>
          <p:nvPr/>
        </p:nvSpPr>
        <p:spPr>
          <a:xfrm>
            <a:off x="9480782" y="1733542"/>
            <a:ext cx="2478613" cy="610075"/>
          </a:xfrm>
          <a:prstGeom prst="chevron">
            <a:avLst>
              <a:gd name="adj" fmla="val 334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21" name="Прямая соединительная линия 120">
            <a:extLst>
              <a:ext uri="{FF2B5EF4-FFF2-40B4-BE49-F238E27FC236}">
                <a16:creationId xmlns:a16="http://schemas.microsoft.com/office/drawing/2014/main" id="{C7C0D988-469E-8341-9981-FFBC911BE4F9}"/>
              </a:ext>
            </a:extLst>
          </p:cNvPr>
          <p:cNvCxnSpPr/>
          <p:nvPr/>
        </p:nvCxnSpPr>
        <p:spPr>
          <a:xfrm flipV="1">
            <a:off x="9734401" y="2338245"/>
            <a:ext cx="0" cy="593701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9426895" y="2667924"/>
            <a:ext cx="617864" cy="574130"/>
            <a:chOff x="9265374" y="2902769"/>
            <a:chExt cx="617864" cy="574130"/>
          </a:xfrm>
        </p:grpSpPr>
        <p:sp>
          <p:nvSpPr>
            <p:cNvPr id="135" name="Овал 134">
              <a:extLst>
                <a:ext uri="{FF2B5EF4-FFF2-40B4-BE49-F238E27FC236}">
                  <a16:creationId xmlns:a16="http://schemas.microsoft.com/office/drawing/2014/main" id="{9BD7DCE4-AE25-FB4A-9376-087662248D7D}"/>
                </a:ext>
              </a:extLst>
            </p:cNvPr>
            <p:cNvSpPr/>
            <p:nvPr/>
          </p:nvSpPr>
          <p:spPr>
            <a:xfrm>
              <a:off x="9265374" y="2902769"/>
              <a:ext cx="617864" cy="5741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7" name="Прямоугольник 136">
              <a:extLst>
                <a:ext uri="{FF2B5EF4-FFF2-40B4-BE49-F238E27FC236}">
                  <a16:creationId xmlns:a16="http://schemas.microsoft.com/office/drawing/2014/main" id="{00D9A049-8C05-7D44-A551-9DC70DB61C5D}"/>
                </a:ext>
              </a:extLst>
            </p:cNvPr>
            <p:cNvSpPr/>
            <p:nvPr/>
          </p:nvSpPr>
          <p:spPr>
            <a:xfrm>
              <a:off x="9279478" y="2967481"/>
              <a:ext cx="584990" cy="4741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05</a:t>
              </a:r>
              <a:endPara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endParaRPr>
            </a:p>
          </p:txBody>
        </p:sp>
      </p:grpSp>
      <p:sp>
        <p:nvSpPr>
          <p:cNvPr id="117" name="Текст 61">
            <a:extLst>
              <a:ext uri="{FF2B5EF4-FFF2-40B4-BE49-F238E27FC236}">
                <a16:creationId xmlns:a16="http://schemas.microsoft.com/office/drawing/2014/main" id="{46BC4271-D796-2848-931E-F0D74D64D234}"/>
              </a:ext>
            </a:extLst>
          </p:cNvPr>
          <p:cNvSpPr txBox="1">
            <a:spLocks/>
          </p:cNvSpPr>
          <p:nvPr/>
        </p:nvSpPr>
        <p:spPr>
          <a:xfrm>
            <a:off x="9385189" y="1754282"/>
            <a:ext cx="2693930" cy="499769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chemeClr val="bg1"/>
                </a:solidFill>
              </a:rPr>
              <a:t>Приемо-сдаточные активности</a:t>
            </a:r>
            <a:endParaRPr lang="ru-RU" sz="1800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091292" y="1078873"/>
            <a:ext cx="535177" cy="505316"/>
            <a:chOff x="8037420" y="1650127"/>
            <a:chExt cx="562621" cy="516943"/>
          </a:xfrm>
        </p:grpSpPr>
        <p:sp>
          <p:nvSpPr>
            <p:cNvPr id="48" name="Freeform 264">
              <a:extLst>
                <a:ext uri="{FF2B5EF4-FFF2-40B4-BE49-F238E27FC236}">
                  <a16:creationId xmlns:a16="http://schemas.microsoft.com/office/drawing/2014/main" id="{E0875EBD-CDD2-564C-BDAF-4582D8771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37420" y="1650127"/>
              <a:ext cx="562621" cy="516943"/>
            </a:xfrm>
            <a:custGeom>
              <a:avLst/>
              <a:gdLst>
                <a:gd name="T0" fmla="*/ 375 w 6400"/>
                <a:gd name="T1" fmla="*/ 0 h 5900"/>
                <a:gd name="T2" fmla="*/ 0 w 6400"/>
                <a:gd name="T3" fmla="*/ 3114 h 5900"/>
                <a:gd name="T4" fmla="*/ 116 w 6400"/>
                <a:gd name="T5" fmla="*/ 4758 h 5900"/>
                <a:gd name="T6" fmla="*/ 383 w 6400"/>
                <a:gd name="T7" fmla="*/ 5900 h 5900"/>
                <a:gd name="T8" fmla="*/ 502 w 6400"/>
                <a:gd name="T9" fmla="*/ 5153 h 5900"/>
                <a:gd name="T10" fmla="*/ 250 w 6400"/>
                <a:gd name="T11" fmla="*/ 3118 h 5900"/>
                <a:gd name="T12" fmla="*/ 502 w 6400"/>
                <a:gd name="T13" fmla="*/ 3424 h 5900"/>
                <a:gd name="T14" fmla="*/ 752 w 6400"/>
                <a:gd name="T15" fmla="*/ 2933 h 5900"/>
                <a:gd name="T16" fmla="*/ 1004 w 6400"/>
                <a:gd name="T17" fmla="*/ 3424 h 5900"/>
                <a:gd name="T18" fmla="*/ 1254 w 6400"/>
                <a:gd name="T19" fmla="*/ 2774 h 5900"/>
                <a:gd name="T20" fmla="*/ 1506 w 6400"/>
                <a:gd name="T21" fmla="*/ 3424 h 5900"/>
                <a:gd name="T22" fmla="*/ 1756 w 6400"/>
                <a:gd name="T23" fmla="*/ 1953 h 5900"/>
                <a:gd name="T24" fmla="*/ 2008 w 6400"/>
                <a:gd name="T25" fmla="*/ 3771 h 5900"/>
                <a:gd name="T26" fmla="*/ 2537 w 6400"/>
                <a:gd name="T27" fmla="*/ 3284 h 5900"/>
                <a:gd name="T28" fmla="*/ 2605 w 6400"/>
                <a:gd name="T29" fmla="*/ 4175 h 5900"/>
                <a:gd name="T30" fmla="*/ 2008 w 6400"/>
                <a:gd name="T31" fmla="*/ 5190 h 5900"/>
                <a:gd name="T32" fmla="*/ 2258 w 6400"/>
                <a:gd name="T33" fmla="*/ 5775 h 5900"/>
                <a:gd name="T34" fmla="*/ 2848 w 6400"/>
                <a:gd name="T35" fmla="*/ 4234 h 5900"/>
                <a:gd name="T36" fmla="*/ 3552 w 6400"/>
                <a:gd name="T37" fmla="*/ 4234 h 5900"/>
                <a:gd name="T38" fmla="*/ 4142 w 6400"/>
                <a:gd name="T39" fmla="*/ 5775 h 5900"/>
                <a:gd name="T40" fmla="*/ 4392 w 6400"/>
                <a:gd name="T41" fmla="*/ 5191 h 5900"/>
                <a:gd name="T42" fmla="*/ 3795 w 6400"/>
                <a:gd name="T43" fmla="*/ 4175 h 5900"/>
                <a:gd name="T44" fmla="*/ 3863 w 6400"/>
                <a:gd name="T45" fmla="*/ 3284 h 5900"/>
                <a:gd name="T46" fmla="*/ 4392 w 6400"/>
                <a:gd name="T47" fmla="*/ 3771 h 5900"/>
                <a:gd name="T48" fmla="*/ 4644 w 6400"/>
                <a:gd name="T49" fmla="*/ 1953 h 5900"/>
                <a:gd name="T50" fmla="*/ 4894 w 6400"/>
                <a:gd name="T51" fmla="*/ 3424 h 5900"/>
                <a:gd name="T52" fmla="*/ 5146 w 6400"/>
                <a:gd name="T53" fmla="*/ 2774 h 5900"/>
                <a:gd name="T54" fmla="*/ 5396 w 6400"/>
                <a:gd name="T55" fmla="*/ 3424 h 5900"/>
                <a:gd name="T56" fmla="*/ 5648 w 6400"/>
                <a:gd name="T57" fmla="*/ 2933 h 5900"/>
                <a:gd name="T58" fmla="*/ 5898 w 6400"/>
                <a:gd name="T59" fmla="*/ 3424 h 5900"/>
                <a:gd name="T60" fmla="*/ 6150 w 6400"/>
                <a:gd name="T61" fmla="*/ 3118 h 5900"/>
                <a:gd name="T62" fmla="*/ 5898 w 6400"/>
                <a:gd name="T63" fmla="*/ 5153 h 5900"/>
                <a:gd name="T64" fmla="*/ 6017 w 6400"/>
                <a:gd name="T65" fmla="*/ 5900 h 5900"/>
                <a:gd name="T66" fmla="*/ 6284 w 6400"/>
                <a:gd name="T67" fmla="*/ 4758 h 5900"/>
                <a:gd name="T68" fmla="*/ 6400 w 6400"/>
                <a:gd name="T69" fmla="*/ 3114 h 5900"/>
                <a:gd name="T70" fmla="*/ 3361 w 6400"/>
                <a:gd name="T71" fmla="*/ 3442 h 5900"/>
                <a:gd name="T72" fmla="*/ 3039 w 6400"/>
                <a:gd name="T73" fmla="*/ 3442 h 5900"/>
                <a:gd name="T74" fmla="*/ 3361 w 6400"/>
                <a:gd name="T75" fmla="*/ 3442 h 5900"/>
                <a:gd name="T76" fmla="*/ 5864 w 6400"/>
                <a:gd name="T77" fmla="*/ 2778 h 5900"/>
                <a:gd name="T78" fmla="*/ 5020 w 6400"/>
                <a:gd name="T79" fmla="*/ 2398 h 5900"/>
                <a:gd name="T80" fmla="*/ 4518 w 6400"/>
                <a:gd name="T81" fmla="*/ 1577 h 5900"/>
                <a:gd name="T82" fmla="*/ 4083 w 6400"/>
                <a:gd name="T83" fmla="*/ 3165 h 5900"/>
                <a:gd name="T84" fmla="*/ 3704 w 6400"/>
                <a:gd name="T85" fmla="*/ 2800 h 5900"/>
                <a:gd name="T86" fmla="*/ 2719 w 6400"/>
                <a:gd name="T87" fmla="*/ 2965 h 5900"/>
                <a:gd name="T88" fmla="*/ 2258 w 6400"/>
                <a:gd name="T89" fmla="*/ 1953 h 5900"/>
                <a:gd name="T90" fmla="*/ 1506 w 6400"/>
                <a:gd name="T91" fmla="*/ 2420 h 5900"/>
                <a:gd name="T92" fmla="*/ 878 w 6400"/>
                <a:gd name="T93" fmla="*/ 2557 h 5900"/>
                <a:gd name="T94" fmla="*/ 250 w 6400"/>
                <a:gd name="T95" fmla="*/ 2764 h 5900"/>
                <a:gd name="T96" fmla="*/ 6025 w 6400"/>
                <a:gd name="T97" fmla="*/ 250 h 5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5900">
                  <a:moveTo>
                    <a:pt x="6400" y="375"/>
                  </a:moveTo>
                  <a:cubicBezTo>
                    <a:pt x="6400" y="168"/>
                    <a:pt x="6232" y="0"/>
                    <a:pt x="6025" y="0"/>
                  </a:cubicBezTo>
                  <a:lnTo>
                    <a:pt x="375" y="0"/>
                  </a:lnTo>
                  <a:cubicBezTo>
                    <a:pt x="168" y="0"/>
                    <a:pt x="0" y="168"/>
                    <a:pt x="0" y="375"/>
                  </a:cubicBezTo>
                  <a:lnTo>
                    <a:pt x="0" y="3113"/>
                  </a:lnTo>
                  <a:cubicBezTo>
                    <a:pt x="0" y="3113"/>
                    <a:pt x="0" y="3114"/>
                    <a:pt x="0" y="3114"/>
                  </a:cubicBezTo>
                  <a:cubicBezTo>
                    <a:pt x="0" y="3116"/>
                    <a:pt x="0" y="3117"/>
                    <a:pt x="0" y="3118"/>
                  </a:cubicBezTo>
                  <a:lnTo>
                    <a:pt x="0" y="3999"/>
                  </a:lnTo>
                  <a:cubicBezTo>
                    <a:pt x="0" y="4257"/>
                    <a:pt x="39" y="4512"/>
                    <a:pt x="116" y="4758"/>
                  </a:cubicBezTo>
                  <a:lnTo>
                    <a:pt x="258" y="5210"/>
                  </a:lnTo>
                  <a:lnTo>
                    <a:pt x="258" y="5775"/>
                  </a:lnTo>
                  <a:cubicBezTo>
                    <a:pt x="258" y="5844"/>
                    <a:pt x="314" y="5900"/>
                    <a:pt x="383" y="5900"/>
                  </a:cubicBezTo>
                  <a:cubicBezTo>
                    <a:pt x="452" y="5900"/>
                    <a:pt x="508" y="5844"/>
                    <a:pt x="508" y="5775"/>
                  </a:cubicBezTo>
                  <a:lnTo>
                    <a:pt x="508" y="5191"/>
                  </a:lnTo>
                  <a:cubicBezTo>
                    <a:pt x="508" y="5178"/>
                    <a:pt x="506" y="5165"/>
                    <a:pt x="502" y="5153"/>
                  </a:cubicBezTo>
                  <a:lnTo>
                    <a:pt x="355" y="4684"/>
                  </a:lnTo>
                  <a:cubicBezTo>
                    <a:pt x="285" y="4462"/>
                    <a:pt x="250" y="4231"/>
                    <a:pt x="250" y="3999"/>
                  </a:cubicBezTo>
                  <a:lnTo>
                    <a:pt x="250" y="3118"/>
                  </a:lnTo>
                  <a:cubicBezTo>
                    <a:pt x="250" y="3048"/>
                    <a:pt x="307" y="2992"/>
                    <a:pt x="376" y="2992"/>
                  </a:cubicBezTo>
                  <a:cubicBezTo>
                    <a:pt x="445" y="2992"/>
                    <a:pt x="502" y="3048"/>
                    <a:pt x="502" y="3118"/>
                  </a:cubicBezTo>
                  <a:lnTo>
                    <a:pt x="502" y="3424"/>
                  </a:lnTo>
                  <a:cubicBezTo>
                    <a:pt x="502" y="3493"/>
                    <a:pt x="558" y="3549"/>
                    <a:pt x="627" y="3549"/>
                  </a:cubicBezTo>
                  <a:cubicBezTo>
                    <a:pt x="696" y="3549"/>
                    <a:pt x="752" y="3493"/>
                    <a:pt x="752" y="3424"/>
                  </a:cubicBezTo>
                  <a:lnTo>
                    <a:pt x="752" y="2933"/>
                  </a:lnTo>
                  <a:cubicBezTo>
                    <a:pt x="752" y="2864"/>
                    <a:pt x="808" y="2807"/>
                    <a:pt x="878" y="2807"/>
                  </a:cubicBezTo>
                  <a:cubicBezTo>
                    <a:pt x="947" y="2807"/>
                    <a:pt x="1004" y="2864"/>
                    <a:pt x="1004" y="2933"/>
                  </a:cubicBezTo>
                  <a:lnTo>
                    <a:pt x="1004" y="3424"/>
                  </a:lnTo>
                  <a:cubicBezTo>
                    <a:pt x="1004" y="3493"/>
                    <a:pt x="1060" y="3549"/>
                    <a:pt x="1129" y="3549"/>
                  </a:cubicBezTo>
                  <a:cubicBezTo>
                    <a:pt x="1198" y="3549"/>
                    <a:pt x="1254" y="3493"/>
                    <a:pt x="1254" y="3424"/>
                  </a:cubicBezTo>
                  <a:lnTo>
                    <a:pt x="1254" y="2774"/>
                  </a:lnTo>
                  <a:cubicBezTo>
                    <a:pt x="1254" y="2705"/>
                    <a:pt x="1310" y="2648"/>
                    <a:pt x="1380" y="2648"/>
                  </a:cubicBezTo>
                  <a:cubicBezTo>
                    <a:pt x="1449" y="2648"/>
                    <a:pt x="1506" y="2705"/>
                    <a:pt x="1506" y="2774"/>
                  </a:cubicBezTo>
                  <a:lnTo>
                    <a:pt x="1506" y="3424"/>
                  </a:lnTo>
                  <a:cubicBezTo>
                    <a:pt x="1506" y="3493"/>
                    <a:pt x="1562" y="3549"/>
                    <a:pt x="1631" y="3549"/>
                  </a:cubicBezTo>
                  <a:cubicBezTo>
                    <a:pt x="1700" y="3549"/>
                    <a:pt x="1756" y="3493"/>
                    <a:pt x="1756" y="3424"/>
                  </a:cubicBezTo>
                  <a:lnTo>
                    <a:pt x="1756" y="1953"/>
                  </a:lnTo>
                  <a:cubicBezTo>
                    <a:pt x="1756" y="1884"/>
                    <a:pt x="1812" y="1827"/>
                    <a:pt x="1882" y="1827"/>
                  </a:cubicBezTo>
                  <a:cubicBezTo>
                    <a:pt x="1951" y="1827"/>
                    <a:pt x="2008" y="1884"/>
                    <a:pt x="2008" y="1953"/>
                  </a:cubicBezTo>
                  <a:lnTo>
                    <a:pt x="2008" y="3771"/>
                  </a:lnTo>
                  <a:cubicBezTo>
                    <a:pt x="2008" y="3828"/>
                    <a:pt x="2047" y="3878"/>
                    <a:pt x="2102" y="3892"/>
                  </a:cubicBezTo>
                  <a:cubicBezTo>
                    <a:pt x="2158" y="3906"/>
                    <a:pt x="2216" y="3880"/>
                    <a:pt x="2243" y="3830"/>
                  </a:cubicBezTo>
                  <a:lnTo>
                    <a:pt x="2537" y="3284"/>
                  </a:lnTo>
                  <a:cubicBezTo>
                    <a:pt x="2574" y="3217"/>
                    <a:pt x="2655" y="3192"/>
                    <a:pt x="2723" y="3226"/>
                  </a:cubicBezTo>
                  <a:cubicBezTo>
                    <a:pt x="2781" y="3255"/>
                    <a:pt x="2811" y="3320"/>
                    <a:pt x="2796" y="3383"/>
                  </a:cubicBezTo>
                  <a:lnTo>
                    <a:pt x="2605" y="4175"/>
                  </a:lnTo>
                  <a:cubicBezTo>
                    <a:pt x="2567" y="4331"/>
                    <a:pt x="2501" y="4475"/>
                    <a:pt x="2406" y="4605"/>
                  </a:cubicBezTo>
                  <a:lnTo>
                    <a:pt x="2032" y="5117"/>
                  </a:lnTo>
                  <a:cubicBezTo>
                    <a:pt x="2016" y="5138"/>
                    <a:pt x="2008" y="5164"/>
                    <a:pt x="2008" y="5190"/>
                  </a:cubicBezTo>
                  <a:lnTo>
                    <a:pt x="2008" y="5775"/>
                  </a:lnTo>
                  <a:cubicBezTo>
                    <a:pt x="2008" y="5844"/>
                    <a:pt x="2064" y="5900"/>
                    <a:pt x="2133" y="5900"/>
                  </a:cubicBezTo>
                  <a:cubicBezTo>
                    <a:pt x="2202" y="5900"/>
                    <a:pt x="2258" y="5844"/>
                    <a:pt x="2258" y="5775"/>
                  </a:cubicBezTo>
                  <a:lnTo>
                    <a:pt x="2258" y="5231"/>
                  </a:lnTo>
                  <a:lnTo>
                    <a:pt x="2608" y="4752"/>
                  </a:lnTo>
                  <a:cubicBezTo>
                    <a:pt x="2722" y="4596"/>
                    <a:pt x="2803" y="4422"/>
                    <a:pt x="2848" y="4234"/>
                  </a:cubicBezTo>
                  <a:lnTo>
                    <a:pt x="2959" y="3775"/>
                  </a:lnTo>
                  <a:lnTo>
                    <a:pt x="3441" y="3775"/>
                  </a:lnTo>
                  <a:lnTo>
                    <a:pt x="3552" y="4234"/>
                  </a:lnTo>
                  <a:cubicBezTo>
                    <a:pt x="3597" y="4422"/>
                    <a:pt x="3678" y="4596"/>
                    <a:pt x="3792" y="4752"/>
                  </a:cubicBezTo>
                  <a:lnTo>
                    <a:pt x="4142" y="5231"/>
                  </a:lnTo>
                  <a:lnTo>
                    <a:pt x="4142" y="5775"/>
                  </a:lnTo>
                  <a:cubicBezTo>
                    <a:pt x="4142" y="5844"/>
                    <a:pt x="4198" y="5900"/>
                    <a:pt x="4267" y="5900"/>
                  </a:cubicBezTo>
                  <a:cubicBezTo>
                    <a:pt x="4336" y="5900"/>
                    <a:pt x="4392" y="5844"/>
                    <a:pt x="4392" y="5775"/>
                  </a:cubicBezTo>
                  <a:lnTo>
                    <a:pt x="4392" y="5191"/>
                  </a:lnTo>
                  <a:cubicBezTo>
                    <a:pt x="4392" y="5164"/>
                    <a:pt x="4384" y="5138"/>
                    <a:pt x="4368" y="5117"/>
                  </a:cubicBezTo>
                  <a:lnTo>
                    <a:pt x="3994" y="4605"/>
                  </a:lnTo>
                  <a:cubicBezTo>
                    <a:pt x="3899" y="4475"/>
                    <a:pt x="3833" y="4331"/>
                    <a:pt x="3795" y="4175"/>
                  </a:cubicBezTo>
                  <a:lnTo>
                    <a:pt x="3604" y="3383"/>
                  </a:lnTo>
                  <a:cubicBezTo>
                    <a:pt x="3589" y="3320"/>
                    <a:pt x="3619" y="3255"/>
                    <a:pt x="3677" y="3226"/>
                  </a:cubicBezTo>
                  <a:cubicBezTo>
                    <a:pt x="3745" y="3192"/>
                    <a:pt x="3826" y="3217"/>
                    <a:pt x="3863" y="3284"/>
                  </a:cubicBezTo>
                  <a:lnTo>
                    <a:pt x="4157" y="3830"/>
                  </a:lnTo>
                  <a:cubicBezTo>
                    <a:pt x="4184" y="3880"/>
                    <a:pt x="4243" y="3906"/>
                    <a:pt x="4298" y="3892"/>
                  </a:cubicBezTo>
                  <a:cubicBezTo>
                    <a:pt x="4353" y="3878"/>
                    <a:pt x="4392" y="3828"/>
                    <a:pt x="4392" y="3771"/>
                  </a:cubicBezTo>
                  <a:lnTo>
                    <a:pt x="4392" y="1953"/>
                  </a:lnTo>
                  <a:cubicBezTo>
                    <a:pt x="4392" y="1884"/>
                    <a:pt x="4449" y="1827"/>
                    <a:pt x="4518" y="1827"/>
                  </a:cubicBezTo>
                  <a:cubicBezTo>
                    <a:pt x="4588" y="1827"/>
                    <a:pt x="4644" y="1884"/>
                    <a:pt x="4644" y="1953"/>
                  </a:cubicBezTo>
                  <a:lnTo>
                    <a:pt x="4644" y="3424"/>
                  </a:lnTo>
                  <a:cubicBezTo>
                    <a:pt x="4644" y="3493"/>
                    <a:pt x="4700" y="3549"/>
                    <a:pt x="4769" y="3549"/>
                  </a:cubicBezTo>
                  <a:cubicBezTo>
                    <a:pt x="4838" y="3549"/>
                    <a:pt x="4894" y="3493"/>
                    <a:pt x="4894" y="3424"/>
                  </a:cubicBezTo>
                  <a:lnTo>
                    <a:pt x="4894" y="2774"/>
                  </a:lnTo>
                  <a:cubicBezTo>
                    <a:pt x="4894" y="2705"/>
                    <a:pt x="4951" y="2648"/>
                    <a:pt x="5020" y="2648"/>
                  </a:cubicBezTo>
                  <a:cubicBezTo>
                    <a:pt x="5090" y="2648"/>
                    <a:pt x="5146" y="2705"/>
                    <a:pt x="5146" y="2774"/>
                  </a:cubicBezTo>
                  <a:lnTo>
                    <a:pt x="5146" y="3424"/>
                  </a:lnTo>
                  <a:cubicBezTo>
                    <a:pt x="5146" y="3493"/>
                    <a:pt x="5202" y="3549"/>
                    <a:pt x="5271" y="3549"/>
                  </a:cubicBezTo>
                  <a:cubicBezTo>
                    <a:pt x="5340" y="3549"/>
                    <a:pt x="5396" y="3493"/>
                    <a:pt x="5396" y="3424"/>
                  </a:cubicBezTo>
                  <a:lnTo>
                    <a:pt x="5396" y="2933"/>
                  </a:lnTo>
                  <a:cubicBezTo>
                    <a:pt x="5396" y="2864"/>
                    <a:pt x="5453" y="2807"/>
                    <a:pt x="5522" y="2807"/>
                  </a:cubicBezTo>
                  <a:cubicBezTo>
                    <a:pt x="5592" y="2807"/>
                    <a:pt x="5648" y="2864"/>
                    <a:pt x="5648" y="2933"/>
                  </a:cubicBezTo>
                  <a:lnTo>
                    <a:pt x="5648" y="3424"/>
                  </a:lnTo>
                  <a:cubicBezTo>
                    <a:pt x="5648" y="3493"/>
                    <a:pt x="5704" y="3549"/>
                    <a:pt x="5773" y="3549"/>
                  </a:cubicBezTo>
                  <a:cubicBezTo>
                    <a:pt x="5842" y="3549"/>
                    <a:pt x="5898" y="3493"/>
                    <a:pt x="5898" y="3424"/>
                  </a:cubicBezTo>
                  <a:lnTo>
                    <a:pt x="5898" y="3118"/>
                  </a:lnTo>
                  <a:cubicBezTo>
                    <a:pt x="5898" y="3048"/>
                    <a:pt x="5955" y="2992"/>
                    <a:pt x="6024" y="2992"/>
                  </a:cubicBezTo>
                  <a:cubicBezTo>
                    <a:pt x="6093" y="2992"/>
                    <a:pt x="6150" y="3048"/>
                    <a:pt x="6150" y="3118"/>
                  </a:cubicBezTo>
                  <a:lnTo>
                    <a:pt x="6150" y="3999"/>
                  </a:lnTo>
                  <a:cubicBezTo>
                    <a:pt x="6150" y="4231"/>
                    <a:pt x="6115" y="4462"/>
                    <a:pt x="6045" y="4684"/>
                  </a:cubicBezTo>
                  <a:lnTo>
                    <a:pt x="5898" y="5153"/>
                  </a:lnTo>
                  <a:cubicBezTo>
                    <a:pt x="5894" y="5165"/>
                    <a:pt x="5892" y="5178"/>
                    <a:pt x="5892" y="5191"/>
                  </a:cubicBezTo>
                  <a:lnTo>
                    <a:pt x="5892" y="5775"/>
                  </a:lnTo>
                  <a:cubicBezTo>
                    <a:pt x="5892" y="5844"/>
                    <a:pt x="5948" y="5900"/>
                    <a:pt x="6017" y="5900"/>
                  </a:cubicBezTo>
                  <a:cubicBezTo>
                    <a:pt x="6086" y="5900"/>
                    <a:pt x="6142" y="5844"/>
                    <a:pt x="6142" y="5775"/>
                  </a:cubicBezTo>
                  <a:lnTo>
                    <a:pt x="6142" y="5210"/>
                  </a:lnTo>
                  <a:lnTo>
                    <a:pt x="6284" y="4758"/>
                  </a:lnTo>
                  <a:cubicBezTo>
                    <a:pt x="6361" y="4512"/>
                    <a:pt x="6400" y="4257"/>
                    <a:pt x="6400" y="3999"/>
                  </a:cubicBezTo>
                  <a:lnTo>
                    <a:pt x="6400" y="3118"/>
                  </a:lnTo>
                  <a:cubicBezTo>
                    <a:pt x="6400" y="3117"/>
                    <a:pt x="6400" y="3116"/>
                    <a:pt x="6400" y="3114"/>
                  </a:cubicBezTo>
                  <a:cubicBezTo>
                    <a:pt x="6400" y="3114"/>
                    <a:pt x="6400" y="3113"/>
                    <a:pt x="6400" y="3113"/>
                  </a:cubicBezTo>
                  <a:lnTo>
                    <a:pt x="6400" y="375"/>
                  </a:lnTo>
                  <a:close/>
                  <a:moveTo>
                    <a:pt x="3361" y="3442"/>
                  </a:moveTo>
                  <a:lnTo>
                    <a:pt x="3381" y="3525"/>
                  </a:lnTo>
                  <a:lnTo>
                    <a:pt x="3019" y="3525"/>
                  </a:lnTo>
                  <a:lnTo>
                    <a:pt x="3039" y="3442"/>
                  </a:lnTo>
                  <a:cubicBezTo>
                    <a:pt x="3075" y="3294"/>
                    <a:pt x="3022" y="3143"/>
                    <a:pt x="2908" y="3050"/>
                  </a:cubicBezTo>
                  <a:lnTo>
                    <a:pt x="3492" y="3050"/>
                  </a:lnTo>
                  <a:cubicBezTo>
                    <a:pt x="3378" y="3143"/>
                    <a:pt x="3325" y="3294"/>
                    <a:pt x="3361" y="3442"/>
                  </a:cubicBezTo>
                  <a:close/>
                  <a:moveTo>
                    <a:pt x="6150" y="2764"/>
                  </a:moveTo>
                  <a:cubicBezTo>
                    <a:pt x="6111" y="2750"/>
                    <a:pt x="6068" y="2742"/>
                    <a:pt x="6024" y="2742"/>
                  </a:cubicBezTo>
                  <a:cubicBezTo>
                    <a:pt x="5967" y="2742"/>
                    <a:pt x="5913" y="2755"/>
                    <a:pt x="5864" y="2778"/>
                  </a:cubicBezTo>
                  <a:cubicBezTo>
                    <a:pt x="5805" y="2648"/>
                    <a:pt x="5674" y="2557"/>
                    <a:pt x="5522" y="2557"/>
                  </a:cubicBezTo>
                  <a:cubicBezTo>
                    <a:pt x="5461" y="2557"/>
                    <a:pt x="5403" y="2572"/>
                    <a:pt x="5352" y="2598"/>
                  </a:cubicBezTo>
                  <a:cubicBezTo>
                    <a:pt x="5289" y="2479"/>
                    <a:pt x="5164" y="2398"/>
                    <a:pt x="5020" y="2398"/>
                  </a:cubicBezTo>
                  <a:cubicBezTo>
                    <a:pt x="4976" y="2398"/>
                    <a:pt x="4934" y="2406"/>
                    <a:pt x="4894" y="2420"/>
                  </a:cubicBezTo>
                  <a:lnTo>
                    <a:pt x="4894" y="1953"/>
                  </a:lnTo>
                  <a:cubicBezTo>
                    <a:pt x="4894" y="1746"/>
                    <a:pt x="4726" y="1577"/>
                    <a:pt x="4518" y="1577"/>
                  </a:cubicBezTo>
                  <a:cubicBezTo>
                    <a:pt x="4311" y="1577"/>
                    <a:pt x="4142" y="1746"/>
                    <a:pt x="4142" y="1953"/>
                  </a:cubicBezTo>
                  <a:lnTo>
                    <a:pt x="4142" y="3276"/>
                  </a:lnTo>
                  <a:lnTo>
                    <a:pt x="4083" y="3165"/>
                  </a:lnTo>
                  <a:cubicBezTo>
                    <a:pt x="4026" y="3060"/>
                    <a:pt x="3929" y="2992"/>
                    <a:pt x="3821" y="2969"/>
                  </a:cubicBezTo>
                  <a:cubicBezTo>
                    <a:pt x="3826" y="2955"/>
                    <a:pt x="3829" y="2940"/>
                    <a:pt x="3829" y="2925"/>
                  </a:cubicBezTo>
                  <a:cubicBezTo>
                    <a:pt x="3829" y="2856"/>
                    <a:pt x="3773" y="2800"/>
                    <a:pt x="3704" y="2800"/>
                  </a:cubicBezTo>
                  <a:lnTo>
                    <a:pt x="2838" y="2800"/>
                  </a:lnTo>
                  <a:cubicBezTo>
                    <a:pt x="2768" y="2800"/>
                    <a:pt x="2713" y="2856"/>
                    <a:pt x="2713" y="2925"/>
                  </a:cubicBezTo>
                  <a:cubicBezTo>
                    <a:pt x="2713" y="2939"/>
                    <a:pt x="2715" y="2952"/>
                    <a:pt x="2719" y="2965"/>
                  </a:cubicBezTo>
                  <a:cubicBezTo>
                    <a:pt x="2560" y="2940"/>
                    <a:pt x="2398" y="3016"/>
                    <a:pt x="2317" y="3165"/>
                  </a:cubicBezTo>
                  <a:lnTo>
                    <a:pt x="2258" y="3276"/>
                  </a:lnTo>
                  <a:lnTo>
                    <a:pt x="2258" y="1953"/>
                  </a:lnTo>
                  <a:cubicBezTo>
                    <a:pt x="2258" y="1746"/>
                    <a:pt x="2089" y="1577"/>
                    <a:pt x="1882" y="1577"/>
                  </a:cubicBezTo>
                  <a:cubicBezTo>
                    <a:pt x="1674" y="1577"/>
                    <a:pt x="1506" y="1746"/>
                    <a:pt x="1506" y="1953"/>
                  </a:cubicBezTo>
                  <a:lnTo>
                    <a:pt x="1506" y="2420"/>
                  </a:lnTo>
                  <a:cubicBezTo>
                    <a:pt x="1466" y="2406"/>
                    <a:pt x="1424" y="2398"/>
                    <a:pt x="1380" y="2398"/>
                  </a:cubicBezTo>
                  <a:cubicBezTo>
                    <a:pt x="1236" y="2398"/>
                    <a:pt x="1111" y="2479"/>
                    <a:pt x="1048" y="2598"/>
                  </a:cubicBezTo>
                  <a:cubicBezTo>
                    <a:pt x="997" y="2572"/>
                    <a:pt x="939" y="2557"/>
                    <a:pt x="878" y="2557"/>
                  </a:cubicBezTo>
                  <a:cubicBezTo>
                    <a:pt x="726" y="2557"/>
                    <a:pt x="595" y="2648"/>
                    <a:pt x="536" y="2778"/>
                  </a:cubicBezTo>
                  <a:cubicBezTo>
                    <a:pt x="487" y="2755"/>
                    <a:pt x="433" y="2742"/>
                    <a:pt x="376" y="2742"/>
                  </a:cubicBezTo>
                  <a:cubicBezTo>
                    <a:pt x="332" y="2742"/>
                    <a:pt x="289" y="2750"/>
                    <a:pt x="250" y="2764"/>
                  </a:cubicBezTo>
                  <a:lnTo>
                    <a:pt x="250" y="375"/>
                  </a:lnTo>
                  <a:cubicBezTo>
                    <a:pt x="250" y="306"/>
                    <a:pt x="306" y="250"/>
                    <a:pt x="375" y="250"/>
                  </a:cubicBezTo>
                  <a:lnTo>
                    <a:pt x="6025" y="250"/>
                  </a:lnTo>
                  <a:cubicBezTo>
                    <a:pt x="6094" y="250"/>
                    <a:pt x="6150" y="306"/>
                    <a:pt x="6150" y="375"/>
                  </a:cubicBezTo>
                  <a:lnTo>
                    <a:pt x="6150" y="2764"/>
                  </a:ln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5">
              <a:extLst>
                <a:ext uri="{FF2B5EF4-FFF2-40B4-BE49-F238E27FC236}">
                  <a16:creationId xmlns:a16="http://schemas.microsoft.com/office/drawing/2014/main" id="{3AC5069E-C448-9042-AAA3-855A6A2FF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0321" y="1764250"/>
              <a:ext cx="69074" cy="22282"/>
            </a:xfrm>
            <a:custGeom>
              <a:avLst/>
              <a:gdLst>
                <a:gd name="T0" fmla="*/ 663 w 788"/>
                <a:gd name="T1" fmla="*/ 0 h 250"/>
                <a:gd name="T2" fmla="*/ 125 w 788"/>
                <a:gd name="T3" fmla="*/ 0 h 250"/>
                <a:gd name="T4" fmla="*/ 0 w 788"/>
                <a:gd name="T5" fmla="*/ 125 h 250"/>
                <a:gd name="T6" fmla="*/ 125 w 788"/>
                <a:gd name="T7" fmla="*/ 250 h 250"/>
                <a:gd name="T8" fmla="*/ 663 w 788"/>
                <a:gd name="T9" fmla="*/ 250 h 250"/>
                <a:gd name="T10" fmla="*/ 788 w 788"/>
                <a:gd name="T11" fmla="*/ 125 h 250"/>
                <a:gd name="T12" fmla="*/ 663 w 788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8" h="250">
                  <a:moveTo>
                    <a:pt x="663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663" y="250"/>
                  </a:lnTo>
                  <a:cubicBezTo>
                    <a:pt x="732" y="250"/>
                    <a:pt x="788" y="194"/>
                    <a:pt x="788" y="125"/>
                  </a:cubicBezTo>
                  <a:cubicBezTo>
                    <a:pt x="788" y="56"/>
                    <a:pt x="732" y="0"/>
                    <a:pt x="663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6">
              <a:extLst>
                <a:ext uri="{FF2B5EF4-FFF2-40B4-BE49-F238E27FC236}">
                  <a16:creationId xmlns:a16="http://schemas.microsoft.com/office/drawing/2014/main" id="{04CDE05E-FF85-3144-9CE5-0A582E64E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0697" y="1764250"/>
              <a:ext cx="38994" cy="22282"/>
            </a:xfrm>
            <a:custGeom>
              <a:avLst/>
              <a:gdLst>
                <a:gd name="T0" fmla="*/ 323 w 448"/>
                <a:gd name="T1" fmla="*/ 0 h 250"/>
                <a:gd name="T2" fmla="*/ 125 w 448"/>
                <a:gd name="T3" fmla="*/ 0 h 250"/>
                <a:gd name="T4" fmla="*/ 0 w 448"/>
                <a:gd name="T5" fmla="*/ 125 h 250"/>
                <a:gd name="T6" fmla="*/ 125 w 448"/>
                <a:gd name="T7" fmla="*/ 250 h 250"/>
                <a:gd name="T8" fmla="*/ 323 w 448"/>
                <a:gd name="T9" fmla="*/ 250 h 250"/>
                <a:gd name="T10" fmla="*/ 448 w 448"/>
                <a:gd name="T11" fmla="*/ 125 h 250"/>
                <a:gd name="T12" fmla="*/ 323 w 448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8" h="250">
                  <a:moveTo>
                    <a:pt x="323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323" y="250"/>
                  </a:lnTo>
                  <a:cubicBezTo>
                    <a:pt x="392" y="250"/>
                    <a:pt x="448" y="194"/>
                    <a:pt x="448" y="125"/>
                  </a:cubicBezTo>
                  <a:cubicBezTo>
                    <a:pt x="448" y="56"/>
                    <a:pt x="392" y="0"/>
                    <a:pt x="323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7">
              <a:extLst>
                <a:ext uri="{FF2B5EF4-FFF2-40B4-BE49-F238E27FC236}">
                  <a16:creationId xmlns:a16="http://schemas.microsoft.com/office/drawing/2014/main" id="{B195EA9A-CC5C-E541-A50B-E23D13958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0321" y="1825526"/>
              <a:ext cx="41222" cy="22282"/>
            </a:xfrm>
            <a:custGeom>
              <a:avLst/>
              <a:gdLst>
                <a:gd name="T0" fmla="*/ 341 w 466"/>
                <a:gd name="T1" fmla="*/ 0 h 250"/>
                <a:gd name="T2" fmla="*/ 125 w 466"/>
                <a:gd name="T3" fmla="*/ 0 h 250"/>
                <a:gd name="T4" fmla="*/ 0 w 466"/>
                <a:gd name="T5" fmla="*/ 125 h 250"/>
                <a:gd name="T6" fmla="*/ 125 w 466"/>
                <a:gd name="T7" fmla="*/ 250 h 250"/>
                <a:gd name="T8" fmla="*/ 341 w 466"/>
                <a:gd name="T9" fmla="*/ 250 h 250"/>
                <a:gd name="T10" fmla="*/ 466 w 466"/>
                <a:gd name="T11" fmla="*/ 125 h 250"/>
                <a:gd name="T12" fmla="*/ 341 w 466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6" h="250">
                  <a:moveTo>
                    <a:pt x="341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341" y="250"/>
                  </a:lnTo>
                  <a:cubicBezTo>
                    <a:pt x="410" y="250"/>
                    <a:pt x="466" y="194"/>
                    <a:pt x="466" y="125"/>
                  </a:cubicBezTo>
                  <a:cubicBezTo>
                    <a:pt x="466" y="56"/>
                    <a:pt x="410" y="0"/>
                    <a:pt x="341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8">
              <a:extLst>
                <a:ext uri="{FF2B5EF4-FFF2-40B4-BE49-F238E27FC236}">
                  <a16:creationId xmlns:a16="http://schemas.microsoft.com/office/drawing/2014/main" id="{279D1B9E-4A39-F94E-9B35-F05D2C659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7436" y="1825526"/>
              <a:ext cx="42336" cy="22282"/>
            </a:xfrm>
            <a:custGeom>
              <a:avLst/>
              <a:gdLst>
                <a:gd name="T0" fmla="*/ 358 w 483"/>
                <a:gd name="T1" fmla="*/ 0 h 250"/>
                <a:gd name="T2" fmla="*/ 125 w 483"/>
                <a:gd name="T3" fmla="*/ 0 h 250"/>
                <a:gd name="T4" fmla="*/ 0 w 483"/>
                <a:gd name="T5" fmla="*/ 125 h 250"/>
                <a:gd name="T6" fmla="*/ 125 w 483"/>
                <a:gd name="T7" fmla="*/ 250 h 250"/>
                <a:gd name="T8" fmla="*/ 358 w 483"/>
                <a:gd name="T9" fmla="*/ 250 h 250"/>
                <a:gd name="T10" fmla="*/ 483 w 483"/>
                <a:gd name="T11" fmla="*/ 125 h 250"/>
                <a:gd name="T12" fmla="*/ 358 w 483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3" h="250">
                  <a:moveTo>
                    <a:pt x="35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358" y="250"/>
                  </a:lnTo>
                  <a:cubicBezTo>
                    <a:pt x="427" y="250"/>
                    <a:pt x="483" y="194"/>
                    <a:pt x="483" y="125"/>
                  </a:cubicBezTo>
                  <a:cubicBezTo>
                    <a:pt x="483" y="56"/>
                    <a:pt x="427" y="0"/>
                    <a:pt x="358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69">
              <a:extLst>
                <a:ext uri="{FF2B5EF4-FFF2-40B4-BE49-F238E27FC236}">
                  <a16:creationId xmlns:a16="http://schemas.microsoft.com/office/drawing/2014/main" id="{CCEB2A41-5923-2646-9F43-5268A9A57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0321" y="1702975"/>
              <a:ext cx="60161" cy="22282"/>
            </a:xfrm>
            <a:custGeom>
              <a:avLst/>
              <a:gdLst>
                <a:gd name="T0" fmla="*/ 557 w 682"/>
                <a:gd name="T1" fmla="*/ 0 h 250"/>
                <a:gd name="T2" fmla="*/ 125 w 682"/>
                <a:gd name="T3" fmla="*/ 0 h 250"/>
                <a:gd name="T4" fmla="*/ 0 w 682"/>
                <a:gd name="T5" fmla="*/ 125 h 250"/>
                <a:gd name="T6" fmla="*/ 125 w 682"/>
                <a:gd name="T7" fmla="*/ 250 h 250"/>
                <a:gd name="T8" fmla="*/ 557 w 682"/>
                <a:gd name="T9" fmla="*/ 250 h 250"/>
                <a:gd name="T10" fmla="*/ 682 w 682"/>
                <a:gd name="T11" fmla="*/ 125 h 250"/>
                <a:gd name="T12" fmla="*/ 557 w 682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2" h="250">
                  <a:moveTo>
                    <a:pt x="557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557" y="250"/>
                  </a:lnTo>
                  <a:cubicBezTo>
                    <a:pt x="626" y="250"/>
                    <a:pt x="682" y="194"/>
                    <a:pt x="682" y="125"/>
                  </a:cubicBezTo>
                  <a:cubicBezTo>
                    <a:pt x="682" y="56"/>
                    <a:pt x="626" y="0"/>
                    <a:pt x="557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70">
              <a:extLst>
                <a:ext uri="{FF2B5EF4-FFF2-40B4-BE49-F238E27FC236}">
                  <a16:creationId xmlns:a16="http://schemas.microsoft.com/office/drawing/2014/main" id="{1854D735-E81B-3F40-A40B-0F7FED65E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2872" y="1702975"/>
              <a:ext cx="56819" cy="22282"/>
            </a:xfrm>
            <a:custGeom>
              <a:avLst/>
              <a:gdLst>
                <a:gd name="T0" fmla="*/ 521 w 646"/>
                <a:gd name="T1" fmla="*/ 0 h 250"/>
                <a:gd name="T2" fmla="*/ 125 w 646"/>
                <a:gd name="T3" fmla="*/ 0 h 250"/>
                <a:gd name="T4" fmla="*/ 0 w 646"/>
                <a:gd name="T5" fmla="*/ 125 h 250"/>
                <a:gd name="T6" fmla="*/ 125 w 646"/>
                <a:gd name="T7" fmla="*/ 250 h 250"/>
                <a:gd name="T8" fmla="*/ 521 w 646"/>
                <a:gd name="T9" fmla="*/ 250 h 250"/>
                <a:gd name="T10" fmla="*/ 646 w 646"/>
                <a:gd name="T11" fmla="*/ 125 h 250"/>
                <a:gd name="T12" fmla="*/ 521 w 646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50">
                  <a:moveTo>
                    <a:pt x="521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521" y="250"/>
                  </a:lnTo>
                  <a:cubicBezTo>
                    <a:pt x="590" y="250"/>
                    <a:pt x="646" y="194"/>
                    <a:pt x="646" y="125"/>
                  </a:cubicBezTo>
                  <a:cubicBezTo>
                    <a:pt x="646" y="56"/>
                    <a:pt x="590" y="0"/>
                    <a:pt x="521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1">
              <a:extLst>
                <a:ext uri="{FF2B5EF4-FFF2-40B4-BE49-F238E27FC236}">
                  <a16:creationId xmlns:a16="http://schemas.microsoft.com/office/drawing/2014/main" id="{8E7D27D5-C97C-0D44-A482-22F78A75A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1650" y="1702975"/>
              <a:ext cx="22282" cy="22282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7 w 250"/>
                <a:gd name="T5" fmla="*/ 37 h 250"/>
                <a:gd name="T6" fmla="*/ 0 w 250"/>
                <a:gd name="T7" fmla="*/ 125 h 250"/>
                <a:gd name="T8" fmla="*/ 37 w 250"/>
                <a:gd name="T9" fmla="*/ 214 h 250"/>
                <a:gd name="T10" fmla="*/ 125 w 250"/>
                <a:gd name="T11" fmla="*/ 250 h 250"/>
                <a:gd name="T12" fmla="*/ 213 w 250"/>
                <a:gd name="T13" fmla="*/ 214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7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7" y="214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4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7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72">
              <a:extLst>
                <a:ext uri="{FF2B5EF4-FFF2-40B4-BE49-F238E27FC236}">
                  <a16:creationId xmlns:a16="http://schemas.microsoft.com/office/drawing/2014/main" id="{4AF6F3D8-CB03-F54B-AE04-063A78D38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7516" y="1764250"/>
              <a:ext cx="51249" cy="22282"/>
            </a:xfrm>
            <a:custGeom>
              <a:avLst/>
              <a:gdLst>
                <a:gd name="T0" fmla="*/ 456 w 581"/>
                <a:gd name="T1" fmla="*/ 0 h 250"/>
                <a:gd name="T2" fmla="*/ 125 w 581"/>
                <a:gd name="T3" fmla="*/ 0 h 250"/>
                <a:gd name="T4" fmla="*/ 0 w 581"/>
                <a:gd name="T5" fmla="*/ 125 h 250"/>
                <a:gd name="T6" fmla="*/ 125 w 581"/>
                <a:gd name="T7" fmla="*/ 250 h 250"/>
                <a:gd name="T8" fmla="*/ 456 w 581"/>
                <a:gd name="T9" fmla="*/ 250 h 250"/>
                <a:gd name="T10" fmla="*/ 581 w 581"/>
                <a:gd name="T11" fmla="*/ 125 h 250"/>
                <a:gd name="T12" fmla="*/ 456 w 581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1" h="250">
                  <a:moveTo>
                    <a:pt x="456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456" y="250"/>
                  </a:lnTo>
                  <a:cubicBezTo>
                    <a:pt x="525" y="250"/>
                    <a:pt x="581" y="194"/>
                    <a:pt x="581" y="125"/>
                  </a:cubicBezTo>
                  <a:cubicBezTo>
                    <a:pt x="581" y="56"/>
                    <a:pt x="525" y="0"/>
                    <a:pt x="456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73">
              <a:extLst>
                <a:ext uri="{FF2B5EF4-FFF2-40B4-BE49-F238E27FC236}">
                  <a16:creationId xmlns:a16="http://schemas.microsoft.com/office/drawing/2014/main" id="{75FA60C5-F858-AF47-82F5-6806947F1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846" y="1764250"/>
              <a:ext cx="22282" cy="22282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6 w 250"/>
                <a:gd name="T5" fmla="*/ 37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7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74">
              <a:extLst>
                <a:ext uri="{FF2B5EF4-FFF2-40B4-BE49-F238E27FC236}">
                  <a16:creationId xmlns:a16="http://schemas.microsoft.com/office/drawing/2014/main" id="{07A164C4-8B40-BD4F-8B9A-05F756B6B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1343" y="1764250"/>
              <a:ext cx="63504" cy="22282"/>
            </a:xfrm>
            <a:custGeom>
              <a:avLst/>
              <a:gdLst>
                <a:gd name="T0" fmla="*/ 595 w 720"/>
                <a:gd name="T1" fmla="*/ 0 h 250"/>
                <a:gd name="T2" fmla="*/ 125 w 720"/>
                <a:gd name="T3" fmla="*/ 0 h 250"/>
                <a:gd name="T4" fmla="*/ 0 w 720"/>
                <a:gd name="T5" fmla="*/ 125 h 250"/>
                <a:gd name="T6" fmla="*/ 125 w 720"/>
                <a:gd name="T7" fmla="*/ 250 h 250"/>
                <a:gd name="T8" fmla="*/ 595 w 720"/>
                <a:gd name="T9" fmla="*/ 250 h 250"/>
                <a:gd name="T10" fmla="*/ 720 w 720"/>
                <a:gd name="T11" fmla="*/ 125 h 250"/>
                <a:gd name="T12" fmla="*/ 595 w 720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0" h="250">
                  <a:moveTo>
                    <a:pt x="595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595" y="250"/>
                  </a:lnTo>
                  <a:cubicBezTo>
                    <a:pt x="664" y="250"/>
                    <a:pt x="720" y="194"/>
                    <a:pt x="720" y="125"/>
                  </a:cubicBezTo>
                  <a:cubicBezTo>
                    <a:pt x="720" y="56"/>
                    <a:pt x="664" y="0"/>
                    <a:pt x="595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75">
              <a:extLst>
                <a:ext uri="{FF2B5EF4-FFF2-40B4-BE49-F238E27FC236}">
                  <a16:creationId xmlns:a16="http://schemas.microsoft.com/office/drawing/2014/main" id="{759AEF36-AA10-F845-97AA-379E1E11A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3195" y="1825526"/>
              <a:ext cx="44564" cy="22282"/>
            </a:xfrm>
            <a:custGeom>
              <a:avLst/>
              <a:gdLst>
                <a:gd name="T0" fmla="*/ 378 w 503"/>
                <a:gd name="T1" fmla="*/ 0 h 250"/>
                <a:gd name="T2" fmla="*/ 125 w 503"/>
                <a:gd name="T3" fmla="*/ 0 h 250"/>
                <a:gd name="T4" fmla="*/ 0 w 503"/>
                <a:gd name="T5" fmla="*/ 125 h 250"/>
                <a:gd name="T6" fmla="*/ 125 w 503"/>
                <a:gd name="T7" fmla="*/ 250 h 250"/>
                <a:gd name="T8" fmla="*/ 378 w 503"/>
                <a:gd name="T9" fmla="*/ 250 h 250"/>
                <a:gd name="T10" fmla="*/ 503 w 503"/>
                <a:gd name="T11" fmla="*/ 125 h 250"/>
                <a:gd name="T12" fmla="*/ 378 w 503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3" h="250">
                  <a:moveTo>
                    <a:pt x="37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378" y="250"/>
                  </a:lnTo>
                  <a:cubicBezTo>
                    <a:pt x="447" y="250"/>
                    <a:pt x="503" y="194"/>
                    <a:pt x="503" y="125"/>
                  </a:cubicBezTo>
                  <a:cubicBezTo>
                    <a:pt x="503" y="56"/>
                    <a:pt x="447" y="0"/>
                    <a:pt x="378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76">
              <a:extLst>
                <a:ext uri="{FF2B5EF4-FFF2-40B4-BE49-F238E27FC236}">
                  <a16:creationId xmlns:a16="http://schemas.microsoft.com/office/drawing/2014/main" id="{A9C47F0F-3B6E-B245-B4D3-BC7255567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0282" y="1825526"/>
              <a:ext cx="42336" cy="22282"/>
            </a:xfrm>
            <a:custGeom>
              <a:avLst/>
              <a:gdLst>
                <a:gd name="T0" fmla="*/ 358 w 483"/>
                <a:gd name="T1" fmla="*/ 0 h 250"/>
                <a:gd name="T2" fmla="*/ 125 w 483"/>
                <a:gd name="T3" fmla="*/ 0 h 250"/>
                <a:gd name="T4" fmla="*/ 0 w 483"/>
                <a:gd name="T5" fmla="*/ 125 h 250"/>
                <a:gd name="T6" fmla="*/ 125 w 483"/>
                <a:gd name="T7" fmla="*/ 250 h 250"/>
                <a:gd name="T8" fmla="*/ 358 w 483"/>
                <a:gd name="T9" fmla="*/ 250 h 250"/>
                <a:gd name="T10" fmla="*/ 483 w 483"/>
                <a:gd name="T11" fmla="*/ 125 h 250"/>
                <a:gd name="T12" fmla="*/ 358 w 483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3" h="250">
                  <a:moveTo>
                    <a:pt x="35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358" y="250"/>
                  </a:lnTo>
                  <a:cubicBezTo>
                    <a:pt x="427" y="250"/>
                    <a:pt x="483" y="194"/>
                    <a:pt x="483" y="125"/>
                  </a:cubicBezTo>
                  <a:cubicBezTo>
                    <a:pt x="483" y="56"/>
                    <a:pt x="427" y="0"/>
                    <a:pt x="358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7">
              <a:extLst>
                <a:ext uri="{FF2B5EF4-FFF2-40B4-BE49-F238E27FC236}">
                  <a16:creationId xmlns:a16="http://schemas.microsoft.com/office/drawing/2014/main" id="{477DFCA4-FA81-E54E-8909-1FCF6DED5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000" y="1702975"/>
              <a:ext cx="51249" cy="22282"/>
            </a:xfrm>
            <a:custGeom>
              <a:avLst/>
              <a:gdLst>
                <a:gd name="T0" fmla="*/ 456 w 581"/>
                <a:gd name="T1" fmla="*/ 0 h 250"/>
                <a:gd name="T2" fmla="*/ 125 w 581"/>
                <a:gd name="T3" fmla="*/ 0 h 250"/>
                <a:gd name="T4" fmla="*/ 0 w 581"/>
                <a:gd name="T5" fmla="*/ 125 h 250"/>
                <a:gd name="T6" fmla="*/ 125 w 581"/>
                <a:gd name="T7" fmla="*/ 250 h 250"/>
                <a:gd name="T8" fmla="*/ 456 w 581"/>
                <a:gd name="T9" fmla="*/ 250 h 250"/>
                <a:gd name="T10" fmla="*/ 581 w 581"/>
                <a:gd name="T11" fmla="*/ 125 h 250"/>
                <a:gd name="T12" fmla="*/ 456 w 581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1" h="250">
                  <a:moveTo>
                    <a:pt x="456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456" y="250"/>
                  </a:lnTo>
                  <a:cubicBezTo>
                    <a:pt x="525" y="250"/>
                    <a:pt x="581" y="194"/>
                    <a:pt x="581" y="125"/>
                  </a:cubicBezTo>
                  <a:cubicBezTo>
                    <a:pt x="581" y="56"/>
                    <a:pt x="525" y="0"/>
                    <a:pt x="456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8">
              <a:extLst>
                <a:ext uri="{FF2B5EF4-FFF2-40B4-BE49-F238E27FC236}">
                  <a16:creationId xmlns:a16="http://schemas.microsoft.com/office/drawing/2014/main" id="{F8B8C9D1-7298-8E42-A09B-D496A2096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913" y="1702975"/>
              <a:ext cx="57933" cy="22282"/>
            </a:xfrm>
            <a:custGeom>
              <a:avLst/>
              <a:gdLst>
                <a:gd name="T0" fmla="*/ 539 w 664"/>
                <a:gd name="T1" fmla="*/ 0 h 250"/>
                <a:gd name="T2" fmla="*/ 125 w 664"/>
                <a:gd name="T3" fmla="*/ 0 h 250"/>
                <a:gd name="T4" fmla="*/ 0 w 664"/>
                <a:gd name="T5" fmla="*/ 125 h 250"/>
                <a:gd name="T6" fmla="*/ 125 w 664"/>
                <a:gd name="T7" fmla="*/ 250 h 250"/>
                <a:gd name="T8" fmla="*/ 539 w 664"/>
                <a:gd name="T9" fmla="*/ 250 h 250"/>
                <a:gd name="T10" fmla="*/ 664 w 664"/>
                <a:gd name="T11" fmla="*/ 125 h 250"/>
                <a:gd name="T12" fmla="*/ 539 w 664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250">
                  <a:moveTo>
                    <a:pt x="539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539" y="250"/>
                  </a:lnTo>
                  <a:cubicBezTo>
                    <a:pt x="608" y="250"/>
                    <a:pt x="664" y="194"/>
                    <a:pt x="664" y="125"/>
                  </a:cubicBezTo>
                  <a:cubicBezTo>
                    <a:pt x="664" y="56"/>
                    <a:pt x="608" y="0"/>
                    <a:pt x="539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79">
              <a:extLst>
                <a:ext uri="{FF2B5EF4-FFF2-40B4-BE49-F238E27FC236}">
                  <a16:creationId xmlns:a16="http://schemas.microsoft.com/office/drawing/2014/main" id="{FD91669A-7DC0-9949-B0F0-A71043F6C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5584" y="1702975"/>
              <a:ext cx="45678" cy="22282"/>
            </a:xfrm>
            <a:custGeom>
              <a:avLst/>
              <a:gdLst>
                <a:gd name="T0" fmla="*/ 399 w 524"/>
                <a:gd name="T1" fmla="*/ 0 h 250"/>
                <a:gd name="T2" fmla="*/ 125 w 524"/>
                <a:gd name="T3" fmla="*/ 0 h 250"/>
                <a:gd name="T4" fmla="*/ 0 w 524"/>
                <a:gd name="T5" fmla="*/ 125 h 250"/>
                <a:gd name="T6" fmla="*/ 125 w 524"/>
                <a:gd name="T7" fmla="*/ 250 h 250"/>
                <a:gd name="T8" fmla="*/ 399 w 524"/>
                <a:gd name="T9" fmla="*/ 250 h 250"/>
                <a:gd name="T10" fmla="*/ 524 w 524"/>
                <a:gd name="T11" fmla="*/ 125 h 250"/>
                <a:gd name="T12" fmla="*/ 399 w 524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4" h="250">
                  <a:moveTo>
                    <a:pt x="399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399" y="250"/>
                  </a:lnTo>
                  <a:cubicBezTo>
                    <a:pt x="468" y="250"/>
                    <a:pt x="524" y="194"/>
                    <a:pt x="524" y="125"/>
                  </a:cubicBezTo>
                  <a:cubicBezTo>
                    <a:pt x="524" y="56"/>
                    <a:pt x="468" y="0"/>
                    <a:pt x="399" y="0"/>
                  </a:cubicBezTo>
                  <a:close/>
                </a:path>
              </a:pathLst>
            </a:custGeom>
            <a:solidFill>
              <a:srgbClr val="475DEB"/>
            </a:solidFill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87" name="Рисунок 473">
            <a:extLst>
              <a:ext uri="{FF2B5EF4-FFF2-40B4-BE49-F238E27FC236}">
                <a16:creationId xmlns:a16="http://schemas.microsoft.com/office/drawing/2014/main" id="{830D3789-8042-3543-9F43-7406CF0C595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5709757" y="1087006"/>
            <a:ext cx="547782" cy="547782"/>
          </a:xfrm>
          <a:prstGeom prst="rect">
            <a:avLst/>
          </a:prstGeom>
        </p:spPr>
      </p:pic>
      <p:sp>
        <p:nvSpPr>
          <p:cNvPr id="90" name="Полилиния 130">
            <a:extLst>
              <a:ext uri="{FF2B5EF4-FFF2-40B4-BE49-F238E27FC236}">
                <a16:creationId xmlns:a16="http://schemas.microsoft.com/office/drawing/2014/main" id="{E403C143-60F6-F041-BED5-8B265ED2614C}"/>
              </a:ext>
            </a:extLst>
          </p:cNvPr>
          <p:cNvSpPr/>
          <p:nvPr/>
        </p:nvSpPr>
        <p:spPr>
          <a:xfrm>
            <a:off x="10424482" y="1108446"/>
            <a:ext cx="495616" cy="512287"/>
          </a:xfrm>
          <a:custGeom>
            <a:avLst/>
            <a:gdLst>
              <a:gd name="connsiteX0" fmla="*/ 22876 w 388909"/>
              <a:gd name="connsiteY0" fmla="*/ 363239 h 391181"/>
              <a:gd name="connsiteX1" fmla="*/ 381923 w 388909"/>
              <a:gd name="connsiteY1" fmla="*/ 363239 h 391181"/>
              <a:gd name="connsiteX2" fmla="*/ 388909 w 388909"/>
              <a:gd name="connsiteY2" fmla="*/ 370224 h 391181"/>
              <a:gd name="connsiteX3" fmla="*/ 381923 w 388909"/>
              <a:gd name="connsiteY3" fmla="*/ 377210 h 391181"/>
              <a:gd name="connsiteX4" fmla="*/ 22876 w 388909"/>
              <a:gd name="connsiteY4" fmla="*/ 377210 h 391181"/>
              <a:gd name="connsiteX5" fmla="*/ 20082 w 388909"/>
              <a:gd name="connsiteY5" fmla="*/ 377210 h 391181"/>
              <a:gd name="connsiteX6" fmla="*/ 11699 w 388909"/>
              <a:gd name="connsiteY6" fmla="*/ 386989 h 391181"/>
              <a:gd name="connsiteX7" fmla="*/ 7508 w 388909"/>
              <a:gd name="connsiteY7" fmla="*/ 391181 h 391181"/>
              <a:gd name="connsiteX8" fmla="*/ 4714 w 388909"/>
              <a:gd name="connsiteY8" fmla="*/ 391181 h 391181"/>
              <a:gd name="connsiteX9" fmla="*/ 523 w 388909"/>
              <a:gd name="connsiteY9" fmla="*/ 382798 h 391181"/>
              <a:gd name="connsiteX10" fmla="*/ 14494 w 388909"/>
              <a:gd name="connsiteY10" fmla="*/ 366034 h 391181"/>
              <a:gd name="connsiteX11" fmla="*/ 22876 w 388909"/>
              <a:gd name="connsiteY11" fmla="*/ 363239 h 391181"/>
              <a:gd name="connsiteX12" fmla="*/ 182142 w 388909"/>
              <a:gd name="connsiteY12" fmla="*/ 307356 h 391181"/>
              <a:gd name="connsiteX13" fmla="*/ 158392 w 388909"/>
              <a:gd name="connsiteY13" fmla="*/ 332503 h 391181"/>
              <a:gd name="connsiteX14" fmla="*/ 158392 w 388909"/>
              <a:gd name="connsiteY14" fmla="*/ 335298 h 391181"/>
              <a:gd name="connsiteX15" fmla="*/ 253393 w 388909"/>
              <a:gd name="connsiteY15" fmla="*/ 335298 h 391181"/>
              <a:gd name="connsiteX16" fmla="*/ 253393 w 388909"/>
              <a:gd name="connsiteY16" fmla="*/ 332503 h 391181"/>
              <a:gd name="connsiteX17" fmla="*/ 229642 w 388909"/>
              <a:gd name="connsiteY17" fmla="*/ 307356 h 391181"/>
              <a:gd name="connsiteX18" fmla="*/ 63391 w 388909"/>
              <a:gd name="connsiteY18" fmla="*/ 293385 h 391181"/>
              <a:gd name="connsiteX19" fmla="*/ 110891 w 388909"/>
              <a:gd name="connsiteY19" fmla="*/ 293385 h 391181"/>
              <a:gd name="connsiteX20" fmla="*/ 138833 w 388909"/>
              <a:gd name="connsiteY20" fmla="*/ 305959 h 391181"/>
              <a:gd name="connsiteX21" fmla="*/ 138833 w 388909"/>
              <a:gd name="connsiteY21" fmla="*/ 315739 h 391181"/>
              <a:gd name="connsiteX22" fmla="*/ 129053 w 388909"/>
              <a:gd name="connsiteY22" fmla="*/ 315739 h 391181"/>
              <a:gd name="connsiteX23" fmla="*/ 110891 w 388909"/>
              <a:gd name="connsiteY23" fmla="*/ 307356 h 391181"/>
              <a:gd name="connsiteX24" fmla="*/ 63391 w 388909"/>
              <a:gd name="connsiteY24" fmla="*/ 307356 h 391181"/>
              <a:gd name="connsiteX25" fmla="*/ 39641 w 388909"/>
              <a:gd name="connsiteY25" fmla="*/ 331106 h 391181"/>
              <a:gd name="connsiteX26" fmla="*/ 39641 w 388909"/>
              <a:gd name="connsiteY26" fmla="*/ 335298 h 391181"/>
              <a:gd name="connsiteX27" fmla="*/ 143024 w 388909"/>
              <a:gd name="connsiteY27" fmla="*/ 335298 h 391181"/>
              <a:gd name="connsiteX28" fmla="*/ 143024 w 388909"/>
              <a:gd name="connsiteY28" fmla="*/ 332503 h 391181"/>
              <a:gd name="connsiteX29" fmla="*/ 180745 w 388909"/>
              <a:gd name="connsiteY29" fmla="*/ 293385 h 391181"/>
              <a:gd name="connsiteX30" fmla="*/ 228245 w 388909"/>
              <a:gd name="connsiteY30" fmla="*/ 293385 h 391181"/>
              <a:gd name="connsiteX31" fmla="*/ 265966 w 388909"/>
              <a:gd name="connsiteY31" fmla="*/ 332503 h 391181"/>
              <a:gd name="connsiteX32" fmla="*/ 265966 w 388909"/>
              <a:gd name="connsiteY32" fmla="*/ 335298 h 391181"/>
              <a:gd name="connsiteX33" fmla="*/ 373541 w 388909"/>
              <a:gd name="connsiteY33" fmla="*/ 335298 h 391181"/>
              <a:gd name="connsiteX34" fmla="*/ 373541 w 388909"/>
              <a:gd name="connsiteY34" fmla="*/ 332503 h 391181"/>
              <a:gd name="connsiteX35" fmla="*/ 349791 w 388909"/>
              <a:gd name="connsiteY35" fmla="*/ 307356 h 391181"/>
              <a:gd name="connsiteX36" fmla="*/ 302290 w 388909"/>
              <a:gd name="connsiteY36" fmla="*/ 307356 h 391181"/>
              <a:gd name="connsiteX37" fmla="*/ 284128 w 388909"/>
              <a:gd name="connsiteY37" fmla="*/ 315739 h 391181"/>
              <a:gd name="connsiteX38" fmla="*/ 274349 w 388909"/>
              <a:gd name="connsiteY38" fmla="*/ 315739 h 391181"/>
              <a:gd name="connsiteX39" fmla="*/ 274349 w 388909"/>
              <a:gd name="connsiteY39" fmla="*/ 305959 h 391181"/>
              <a:gd name="connsiteX40" fmla="*/ 302290 w 388909"/>
              <a:gd name="connsiteY40" fmla="*/ 293385 h 391181"/>
              <a:gd name="connsiteX41" fmla="*/ 349791 w 388909"/>
              <a:gd name="connsiteY41" fmla="*/ 293385 h 391181"/>
              <a:gd name="connsiteX42" fmla="*/ 387512 w 388909"/>
              <a:gd name="connsiteY42" fmla="*/ 332503 h 391181"/>
              <a:gd name="connsiteX43" fmla="*/ 387512 w 388909"/>
              <a:gd name="connsiteY43" fmla="*/ 342283 h 391181"/>
              <a:gd name="connsiteX44" fmla="*/ 380526 w 388909"/>
              <a:gd name="connsiteY44" fmla="*/ 349269 h 391181"/>
              <a:gd name="connsiteX45" fmla="*/ 379129 w 388909"/>
              <a:gd name="connsiteY45" fmla="*/ 349269 h 391181"/>
              <a:gd name="connsiteX46" fmla="*/ 32655 w 388909"/>
              <a:gd name="connsiteY46" fmla="*/ 349269 h 391181"/>
              <a:gd name="connsiteX47" fmla="*/ 25670 w 388909"/>
              <a:gd name="connsiteY47" fmla="*/ 342283 h 391181"/>
              <a:gd name="connsiteX48" fmla="*/ 25670 w 388909"/>
              <a:gd name="connsiteY48" fmla="*/ 331106 h 391181"/>
              <a:gd name="connsiteX49" fmla="*/ 63391 w 388909"/>
              <a:gd name="connsiteY49" fmla="*/ 293385 h 391181"/>
              <a:gd name="connsiteX50" fmla="*/ 203099 w 388909"/>
              <a:gd name="connsiteY50" fmla="*/ 244488 h 391181"/>
              <a:gd name="connsiteX51" fmla="*/ 189128 w 388909"/>
              <a:gd name="connsiteY51" fmla="*/ 258459 h 391181"/>
              <a:gd name="connsiteX52" fmla="*/ 203099 w 388909"/>
              <a:gd name="connsiteY52" fmla="*/ 272430 h 391181"/>
              <a:gd name="connsiteX53" fmla="*/ 217070 w 388909"/>
              <a:gd name="connsiteY53" fmla="*/ 258459 h 391181"/>
              <a:gd name="connsiteX54" fmla="*/ 203099 w 388909"/>
              <a:gd name="connsiteY54" fmla="*/ 244488 h 391181"/>
              <a:gd name="connsiteX55" fmla="*/ 92730 w 388909"/>
              <a:gd name="connsiteY55" fmla="*/ 244488 h 391181"/>
              <a:gd name="connsiteX56" fmla="*/ 78759 w 388909"/>
              <a:gd name="connsiteY56" fmla="*/ 258459 h 391181"/>
              <a:gd name="connsiteX57" fmla="*/ 92730 w 388909"/>
              <a:gd name="connsiteY57" fmla="*/ 272430 h 391181"/>
              <a:gd name="connsiteX58" fmla="*/ 106701 w 388909"/>
              <a:gd name="connsiteY58" fmla="*/ 258459 h 391181"/>
              <a:gd name="connsiteX59" fmla="*/ 92730 w 388909"/>
              <a:gd name="connsiteY59" fmla="*/ 244488 h 391181"/>
              <a:gd name="connsiteX60" fmla="*/ 328835 w 388909"/>
              <a:gd name="connsiteY60" fmla="*/ 244488 h 391181"/>
              <a:gd name="connsiteX61" fmla="*/ 314864 w 388909"/>
              <a:gd name="connsiteY61" fmla="*/ 258459 h 391181"/>
              <a:gd name="connsiteX62" fmla="*/ 328835 w 388909"/>
              <a:gd name="connsiteY62" fmla="*/ 272430 h 391181"/>
              <a:gd name="connsiteX63" fmla="*/ 342806 w 388909"/>
              <a:gd name="connsiteY63" fmla="*/ 258459 h 391181"/>
              <a:gd name="connsiteX64" fmla="*/ 328835 w 388909"/>
              <a:gd name="connsiteY64" fmla="*/ 244488 h 391181"/>
              <a:gd name="connsiteX65" fmla="*/ 328835 w 388909"/>
              <a:gd name="connsiteY65" fmla="*/ 230517 h 391181"/>
              <a:gd name="connsiteX66" fmla="*/ 356777 w 388909"/>
              <a:gd name="connsiteY66" fmla="*/ 258459 h 391181"/>
              <a:gd name="connsiteX67" fmla="*/ 328835 w 388909"/>
              <a:gd name="connsiteY67" fmla="*/ 285004 h 391181"/>
              <a:gd name="connsiteX68" fmla="*/ 300893 w 388909"/>
              <a:gd name="connsiteY68" fmla="*/ 258459 h 391181"/>
              <a:gd name="connsiteX69" fmla="*/ 328835 w 388909"/>
              <a:gd name="connsiteY69" fmla="*/ 230517 h 391181"/>
              <a:gd name="connsiteX70" fmla="*/ 203099 w 388909"/>
              <a:gd name="connsiteY70" fmla="*/ 230517 h 391181"/>
              <a:gd name="connsiteX71" fmla="*/ 231041 w 388909"/>
              <a:gd name="connsiteY71" fmla="*/ 258459 h 391181"/>
              <a:gd name="connsiteX72" fmla="*/ 203099 w 388909"/>
              <a:gd name="connsiteY72" fmla="*/ 286401 h 391181"/>
              <a:gd name="connsiteX73" fmla="*/ 175157 w 388909"/>
              <a:gd name="connsiteY73" fmla="*/ 258459 h 391181"/>
              <a:gd name="connsiteX74" fmla="*/ 203099 w 388909"/>
              <a:gd name="connsiteY74" fmla="*/ 230517 h 391181"/>
              <a:gd name="connsiteX75" fmla="*/ 92730 w 388909"/>
              <a:gd name="connsiteY75" fmla="*/ 230517 h 391181"/>
              <a:gd name="connsiteX76" fmla="*/ 120672 w 388909"/>
              <a:gd name="connsiteY76" fmla="*/ 258459 h 391181"/>
              <a:gd name="connsiteX77" fmla="*/ 92730 w 388909"/>
              <a:gd name="connsiteY77" fmla="*/ 286401 h 391181"/>
              <a:gd name="connsiteX78" fmla="*/ 64788 w 388909"/>
              <a:gd name="connsiteY78" fmla="*/ 258459 h 391181"/>
              <a:gd name="connsiteX79" fmla="*/ 92730 w 388909"/>
              <a:gd name="connsiteY79" fmla="*/ 230517 h 391181"/>
              <a:gd name="connsiteX80" fmla="*/ 60596 w 388909"/>
              <a:gd name="connsiteY80" fmla="*/ 155075 h 391181"/>
              <a:gd name="connsiteX81" fmla="*/ 67583 w 388909"/>
              <a:gd name="connsiteY81" fmla="*/ 162060 h 391181"/>
              <a:gd name="connsiteX82" fmla="*/ 67583 w 388909"/>
              <a:gd name="connsiteY82" fmla="*/ 188605 h 391181"/>
              <a:gd name="connsiteX83" fmla="*/ 60596 w 388909"/>
              <a:gd name="connsiteY83" fmla="*/ 195590 h 391181"/>
              <a:gd name="connsiteX84" fmla="*/ 53611 w 388909"/>
              <a:gd name="connsiteY84" fmla="*/ 188605 h 391181"/>
              <a:gd name="connsiteX85" fmla="*/ 53611 w 388909"/>
              <a:gd name="connsiteY85" fmla="*/ 162060 h 391181"/>
              <a:gd name="connsiteX86" fmla="*/ 60596 w 388909"/>
              <a:gd name="connsiteY86" fmla="*/ 155075 h 391181"/>
              <a:gd name="connsiteX87" fmla="*/ 328836 w 388909"/>
              <a:gd name="connsiteY87" fmla="*/ 127134 h 391181"/>
              <a:gd name="connsiteX88" fmla="*/ 348394 w 388909"/>
              <a:gd name="connsiteY88" fmla="*/ 138311 h 391181"/>
              <a:gd name="connsiteX89" fmla="*/ 352586 w 388909"/>
              <a:gd name="connsiteY89" fmla="*/ 143899 h 391181"/>
              <a:gd name="connsiteX90" fmla="*/ 351188 w 388909"/>
              <a:gd name="connsiteY90" fmla="*/ 150884 h 391181"/>
              <a:gd name="connsiteX91" fmla="*/ 348394 w 388909"/>
              <a:gd name="connsiteY91" fmla="*/ 153678 h 391181"/>
              <a:gd name="connsiteX92" fmla="*/ 328836 w 388909"/>
              <a:gd name="connsiteY92" fmla="*/ 164855 h 391181"/>
              <a:gd name="connsiteX93" fmla="*/ 326041 w 388909"/>
              <a:gd name="connsiteY93" fmla="*/ 166252 h 391181"/>
              <a:gd name="connsiteX94" fmla="*/ 320453 w 388909"/>
              <a:gd name="connsiteY94" fmla="*/ 163458 h 391181"/>
              <a:gd name="connsiteX95" fmla="*/ 323247 w 388909"/>
              <a:gd name="connsiteY95" fmla="*/ 155076 h 391181"/>
              <a:gd name="connsiteX96" fmla="*/ 326041 w 388909"/>
              <a:gd name="connsiteY96" fmla="*/ 153678 h 391181"/>
              <a:gd name="connsiteX97" fmla="*/ 144421 w 388909"/>
              <a:gd name="connsiteY97" fmla="*/ 153678 h 391181"/>
              <a:gd name="connsiteX98" fmla="*/ 137436 w 388909"/>
              <a:gd name="connsiteY98" fmla="*/ 146693 h 391181"/>
              <a:gd name="connsiteX99" fmla="*/ 144421 w 388909"/>
              <a:gd name="connsiteY99" fmla="*/ 139707 h 391181"/>
              <a:gd name="connsiteX100" fmla="*/ 326041 w 388909"/>
              <a:gd name="connsiteY100" fmla="*/ 139707 h 391181"/>
              <a:gd name="connsiteX101" fmla="*/ 323247 w 388909"/>
              <a:gd name="connsiteY101" fmla="*/ 138311 h 391181"/>
              <a:gd name="connsiteX102" fmla="*/ 320453 w 388909"/>
              <a:gd name="connsiteY102" fmla="*/ 129928 h 391181"/>
              <a:gd name="connsiteX103" fmla="*/ 328836 w 388909"/>
              <a:gd name="connsiteY103" fmla="*/ 127134 h 391181"/>
              <a:gd name="connsiteX104" fmla="*/ 64788 w 388909"/>
              <a:gd name="connsiteY104" fmla="*/ 83825 h 391181"/>
              <a:gd name="connsiteX105" fmla="*/ 190525 w 388909"/>
              <a:gd name="connsiteY105" fmla="*/ 83825 h 391181"/>
              <a:gd name="connsiteX106" fmla="*/ 208687 w 388909"/>
              <a:gd name="connsiteY106" fmla="*/ 103384 h 391181"/>
              <a:gd name="connsiteX107" fmla="*/ 208687 w 388909"/>
              <a:gd name="connsiteY107" fmla="*/ 106178 h 391181"/>
              <a:gd name="connsiteX108" fmla="*/ 190525 w 388909"/>
              <a:gd name="connsiteY108" fmla="*/ 125737 h 391181"/>
              <a:gd name="connsiteX109" fmla="*/ 123466 w 388909"/>
              <a:gd name="connsiteY109" fmla="*/ 125737 h 391181"/>
              <a:gd name="connsiteX110" fmla="*/ 123466 w 388909"/>
              <a:gd name="connsiteY110" fmla="*/ 190003 h 391181"/>
              <a:gd name="connsiteX111" fmla="*/ 116480 w 388909"/>
              <a:gd name="connsiteY111" fmla="*/ 196988 h 391181"/>
              <a:gd name="connsiteX112" fmla="*/ 109495 w 388909"/>
              <a:gd name="connsiteY112" fmla="*/ 190003 h 391181"/>
              <a:gd name="connsiteX113" fmla="*/ 109495 w 388909"/>
              <a:gd name="connsiteY113" fmla="*/ 127134 h 391181"/>
              <a:gd name="connsiteX114" fmla="*/ 123466 w 388909"/>
              <a:gd name="connsiteY114" fmla="*/ 113163 h 391181"/>
              <a:gd name="connsiteX115" fmla="*/ 190525 w 388909"/>
              <a:gd name="connsiteY115" fmla="*/ 113163 h 391181"/>
              <a:gd name="connsiteX116" fmla="*/ 196114 w 388909"/>
              <a:gd name="connsiteY116" fmla="*/ 107575 h 391181"/>
              <a:gd name="connsiteX117" fmla="*/ 196114 w 388909"/>
              <a:gd name="connsiteY117" fmla="*/ 104781 h 391181"/>
              <a:gd name="connsiteX118" fmla="*/ 190525 w 388909"/>
              <a:gd name="connsiteY118" fmla="*/ 97796 h 391181"/>
              <a:gd name="connsiteX119" fmla="*/ 66186 w 388909"/>
              <a:gd name="connsiteY119" fmla="*/ 97796 h 391181"/>
              <a:gd name="connsiteX120" fmla="*/ 39641 w 388909"/>
              <a:gd name="connsiteY120" fmla="*/ 132722 h 391181"/>
              <a:gd name="connsiteX121" fmla="*/ 39641 w 388909"/>
              <a:gd name="connsiteY121" fmla="*/ 188606 h 391181"/>
              <a:gd name="connsiteX122" fmla="*/ 32655 w 388909"/>
              <a:gd name="connsiteY122" fmla="*/ 195591 h 391181"/>
              <a:gd name="connsiteX123" fmla="*/ 25670 w 388909"/>
              <a:gd name="connsiteY123" fmla="*/ 188606 h 391181"/>
              <a:gd name="connsiteX124" fmla="*/ 25670 w 388909"/>
              <a:gd name="connsiteY124" fmla="*/ 131326 h 391181"/>
              <a:gd name="connsiteX125" fmla="*/ 64788 w 388909"/>
              <a:gd name="connsiteY125" fmla="*/ 83825 h 391181"/>
              <a:gd name="connsiteX126" fmla="*/ 88539 w 388909"/>
              <a:gd name="connsiteY126" fmla="*/ 34927 h 391181"/>
              <a:gd name="connsiteX127" fmla="*/ 74568 w 388909"/>
              <a:gd name="connsiteY127" fmla="*/ 48898 h 391181"/>
              <a:gd name="connsiteX128" fmla="*/ 88539 w 388909"/>
              <a:gd name="connsiteY128" fmla="*/ 62869 h 391181"/>
              <a:gd name="connsiteX129" fmla="*/ 102510 w 388909"/>
              <a:gd name="connsiteY129" fmla="*/ 48898 h 391181"/>
              <a:gd name="connsiteX130" fmla="*/ 88539 w 388909"/>
              <a:gd name="connsiteY130" fmla="*/ 34927 h 391181"/>
              <a:gd name="connsiteX131" fmla="*/ 88539 w 388909"/>
              <a:gd name="connsiteY131" fmla="*/ 20956 h 391181"/>
              <a:gd name="connsiteX132" fmla="*/ 116481 w 388909"/>
              <a:gd name="connsiteY132" fmla="*/ 48898 h 391181"/>
              <a:gd name="connsiteX133" fmla="*/ 88539 w 388909"/>
              <a:gd name="connsiteY133" fmla="*/ 76839 h 391181"/>
              <a:gd name="connsiteX134" fmla="*/ 60597 w 388909"/>
              <a:gd name="connsiteY134" fmla="*/ 48898 h 391181"/>
              <a:gd name="connsiteX135" fmla="*/ 88539 w 388909"/>
              <a:gd name="connsiteY135" fmla="*/ 20956 h 391181"/>
              <a:gd name="connsiteX136" fmla="*/ 145819 w 388909"/>
              <a:gd name="connsiteY136" fmla="*/ 0 h 391181"/>
              <a:gd name="connsiteX137" fmla="*/ 360968 w 388909"/>
              <a:gd name="connsiteY137" fmla="*/ 0 h 391181"/>
              <a:gd name="connsiteX138" fmla="*/ 388909 w 388909"/>
              <a:gd name="connsiteY138" fmla="*/ 29338 h 391181"/>
              <a:gd name="connsiteX139" fmla="*/ 388909 w 388909"/>
              <a:gd name="connsiteY139" fmla="*/ 183017 h 391181"/>
              <a:gd name="connsiteX140" fmla="*/ 360968 w 388909"/>
              <a:gd name="connsiteY140" fmla="*/ 210958 h 391181"/>
              <a:gd name="connsiteX141" fmla="*/ 298099 w 388909"/>
              <a:gd name="connsiteY141" fmla="*/ 210958 h 391181"/>
              <a:gd name="connsiteX142" fmla="*/ 144421 w 388909"/>
              <a:gd name="connsiteY142" fmla="*/ 210958 h 391181"/>
              <a:gd name="connsiteX143" fmla="*/ 137436 w 388909"/>
              <a:gd name="connsiteY143" fmla="*/ 203973 h 391181"/>
              <a:gd name="connsiteX144" fmla="*/ 144421 w 388909"/>
              <a:gd name="connsiteY144" fmla="*/ 196988 h 391181"/>
              <a:gd name="connsiteX145" fmla="*/ 298099 w 388909"/>
              <a:gd name="connsiteY145" fmla="*/ 196988 h 391181"/>
              <a:gd name="connsiteX146" fmla="*/ 359571 w 388909"/>
              <a:gd name="connsiteY146" fmla="*/ 196988 h 391181"/>
              <a:gd name="connsiteX147" fmla="*/ 374938 w 388909"/>
              <a:gd name="connsiteY147" fmla="*/ 181620 h 391181"/>
              <a:gd name="connsiteX148" fmla="*/ 374938 w 388909"/>
              <a:gd name="connsiteY148" fmla="*/ 29338 h 391181"/>
              <a:gd name="connsiteX149" fmla="*/ 360968 w 388909"/>
              <a:gd name="connsiteY149" fmla="*/ 13971 h 391181"/>
              <a:gd name="connsiteX150" fmla="*/ 145819 w 388909"/>
              <a:gd name="connsiteY150" fmla="*/ 13971 h 391181"/>
              <a:gd name="connsiteX151" fmla="*/ 138833 w 388909"/>
              <a:gd name="connsiteY151" fmla="*/ 6985 h 391181"/>
              <a:gd name="connsiteX152" fmla="*/ 145819 w 388909"/>
              <a:gd name="connsiteY152" fmla="*/ 0 h 391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388909" h="391181">
                <a:moveTo>
                  <a:pt x="22876" y="363239"/>
                </a:moveTo>
                <a:lnTo>
                  <a:pt x="381923" y="363239"/>
                </a:lnTo>
                <a:cubicBezTo>
                  <a:pt x="386114" y="363239"/>
                  <a:pt x="388909" y="366034"/>
                  <a:pt x="388909" y="370224"/>
                </a:cubicBezTo>
                <a:cubicBezTo>
                  <a:pt x="388909" y="374416"/>
                  <a:pt x="386114" y="377210"/>
                  <a:pt x="381923" y="377210"/>
                </a:cubicBezTo>
                <a:lnTo>
                  <a:pt x="22876" y="377210"/>
                </a:lnTo>
                <a:cubicBezTo>
                  <a:pt x="21479" y="377210"/>
                  <a:pt x="21479" y="377210"/>
                  <a:pt x="20082" y="377210"/>
                </a:cubicBezTo>
                <a:cubicBezTo>
                  <a:pt x="15891" y="380004"/>
                  <a:pt x="13097" y="382798"/>
                  <a:pt x="11699" y="386989"/>
                </a:cubicBezTo>
                <a:cubicBezTo>
                  <a:pt x="11699" y="389784"/>
                  <a:pt x="8905" y="391181"/>
                  <a:pt x="7508" y="391181"/>
                </a:cubicBezTo>
                <a:cubicBezTo>
                  <a:pt x="6111" y="391181"/>
                  <a:pt x="6111" y="391181"/>
                  <a:pt x="4714" y="391181"/>
                </a:cubicBezTo>
                <a:cubicBezTo>
                  <a:pt x="523" y="389784"/>
                  <a:pt x="-874" y="385593"/>
                  <a:pt x="523" y="382798"/>
                </a:cubicBezTo>
                <a:cubicBezTo>
                  <a:pt x="3317" y="375813"/>
                  <a:pt x="7508" y="370224"/>
                  <a:pt x="14494" y="366034"/>
                </a:cubicBezTo>
                <a:cubicBezTo>
                  <a:pt x="17288" y="364636"/>
                  <a:pt x="20082" y="363239"/>
                  <a:pt x="22876" y="363239"/>
                </a:cubicBezTo>
                <a:close/>
                <a:moveTo>
                  <a:pt x="182142" y="307356"/>
                </a:moveTo>
                <a:cubicBezTo>
                  <a:pt x="169569" y="307356"/>
                  <a:pt x="158392" y="319930"/>
                  <a:pt x="158392" y="332503"/>
                </a:cubicBezTo>
                <a:lnTo>
                  <a:pt x="158392" y="335298"/>
                </a:lnTo>
                <a:lnTo>
                  <a:pt x="253393" y="335298"/>
                </a:lnTo>
                <a:lnTo>
                  <a:pt x="253393" y="332503"/>
                </a:lnTo>
                <a:cubicBezTo>
                  <a:pt x="253393" y="319930"/>
                  <a:pt x="243613" y="307356"/>
                  <a:pt x="229642" y="307356"/>
                </a:cubicBezTo>
                <a:close/>
                <a:moveTo>
                  <a:pt x="63391" y="293385"/>
                </a:moveTo>
                <a:lnTo>
                  <a:pt x="110891" y="293385"/>
                </a:lnTo>
                <a:cubicBezTo>
                  <a:pt x="122068" y="293385"/>
                  <a:pt x="131848" y="297576"/>
                  <a:pt x="138833" y="305959"/>
                </a:cubicBezTo>
                <a:cubicBezTo>
                  <a:pt x="141627" y="308753"/>
                  <a:pt x="141627" y="312944"/>
                  <a:pt x="138833" y="315739"/>
                </a:cubicBezTo>
                <a:cubicBezTo>
                  <a:pt x="136038" y="318533"/>
                  <a:pt x="131848" y="318533"/>
                  <a:pt x="129053" y="315739"/>
                </a:cubicBezTo>
                <a:cubicBezTo>
                  <a:pt x="124862" y="310150"/>
                  <a:pt x="117877" y="307356"/>
                  <a:pt x="110891" y="307356"/>
                </a:cubicBezTo>
                <a:lnTo>
                  <a:pt x="63391" y="307356"/>
                </a:lnTo>
                <a:cubicBezTo>
                  <a:pt x="50817" y="307356"/>
                  <a:pt x="39641" y="318533"/>
                  <a:pt x="39641" y="331106"/>
                </a:cubicBezTo>
                <a:lnTo>
                  <a:pt x="39641" y="335298"/>
                </a:lnTo>
                <a:lnTo>
                  <a:pt x="143024" y="335298"/>
                </a:lnTo>
                <a:lnTo>
                  <a:pt x="143024" y="332503"/>
                </a:lnTo>
                <a:cubicBezTo>
                  <a:pt x="143024" y="311547"/>
                  <a:pt x="159789" y="293385"/>
                  <a:pt x="180745" y="293385"/>
                </a:cubicBezTo>
                <a:lnTo>
                  <a:pt x="228245" y="293385"/>
                </a:lnTo>
                <a:cubicBezTo>
                  <a:pt x="249202" y="293385"/>
                  <a:pt x="265966" y="311547"/>
                  <a:pt x="265966" y="332503"/>
                </a:cubicBezTo>
                <a:lnTo>
                  <a:pt x="265966" y="335298"/>
                </a:lnTo>
                <a:lnTo>
                  <a:pt x="373541" y="335298"/>
                </a:lnTo>
                <a:lnTo>
                  <a:pt x="373541" y="332503"/>
                </a:lnTo>
                <a:cubicBezTo>
                  <a:pt x="373541" y="319930"/>
                  <a:pt x="363762" y="307356"/>
                  <a:pt x="349791" y="307356"/>
                </a:cubicBezTo>
                <a:lnTo>
                  <a:pt x="302290" y="307356"/>
                </a:lnTo>
                <a:cubicBezTo>
                  <a:pt x="295305" y="307356"/>
                  <a:pt x="288320" y="310150"/>
                  <a:pt x="284128" y="315739"/>
                </a:cubicBezTo>
                <a:cubicBezTo>
                  <a:pt x="281334" y="318533"/>
                  <a:pt x="277143" y="318533"/>
                  <a:pt x="274349" y="315739"/>
                </a:cubicBezTo>
                <a:cubicBezTo>
                  <a:pt x="271555" y="312944"/>
                  <a:pt x="271555" y="308753"/>
                  <a:pt x="274349" y="305959"/>
                </a:cubicBezTo>
                <a:cubicBezTo>
                  <a:pt x="281334" y="297576"/>
                  <a:pt x="291114" y="293385"/>
                  <a:pt x="302290" y="293385"/>
                </a:cubicBezTo>
                <a:lnTo>
                  <a:pt x="349791" y="293385"/>
                </a:lnTo>
                <a:cubicBezTo>
                  <a:pt x="370747" y="293385"/>
                  <a:pt x="387512" y="311547"/>
                  <a:pt x="387512" y="332503"/>
                </a:cubicBezTo>
                <a:lnTo>
                  <a:pt x="387512" y="342283"/>
                </a:lnTo>
                <a:cubicBezTo>
                  <a:pt x="387512" y="346474"/>
                  <a:pt x="384717" y="349269"/>
                  <a:pt x="380526" y="349269"/>
                </a:cubicBezTo>
                <a:lnTo>
                  <a:pt x="379129" y="349269"/>
                </a:lnTo>
                <a:lnTo>
                  <a:pt x="32655" y="349269"/>
                </a:lnTo>
                <a:cubicBezTo>
                  <a:pt x="29861" y="349269"/>
                  <a:pt x="27067" y="346474"/>
                  <a:pt x="25670" y="342283"/>
                </a:cubicBezTo>
                <a:lnTo>
                  <a:pt x="25670" y="331106"/>
                </a:lnTo>
                <a:cubicBezTo>
                  <a:pt x="25670" y="310150"/>
                  <a:pt x="42435" y="293385"/>
                  <a:pt x="63391" y="293385"/>
                </a:cubicBezTo>
                <a:close/>
                <a:moveTo>
                  <a:pt x="203099" y="244488"/>
                </a:moveTo>
                <a:cubicBezTo>
                  <a:pt x="196113" y="244488"/>
                  <a:pt x="189128" y="251473"/>
                  <a:pt x="189128" y="258459"/>
                </a:cubicBezTo>
                <a:cubicBezTo>
                  <a:pt x="189128" y="265444"/>
                  <a:pt x="196113" y="272430"/>
                  <a:pt x="203099" y="272430"/>
                </a:cubicBezTo>
                <a:cubicBezTo>
                  <a:pt x="210084" y="272430"/>
                  <a:pt x="217070" y="266842"/>
                  <a:pt x="217070" y="258459"/>
                </a:cubicBezTo>
                <a:cubicBezTo>
                  <a:pt x="217070" y="250076"/>
                  <a:pt x="211481" y="244488"/>
                  <a:pt x="203099" y="244488"/>
                </a:cubicBezTo>
                <a:close/>
                <a:moveTo>
                  <a:pt x="92730" y="244488"/>
                </a:moveTo>
                <a:cubicBezTo>
                  <a:pt x="84347" y="244488"/>
                  <a:pt x="78759" y="251473"/>
                  <a:pt x="78759" y="258459"/>
                </a:cubicBezTo>
                <a:cubicBezTo>
                  <a:pt x="78759" y="265444"/>
                  <a:pt x="85744" y="272430"/>
                  <a:pt x="92730" y="272430"/>
                </a:cubicBezTo>
                <a:cubicBezTo>
                  <a:pt x="99715" y="272430"/>
                  <a:pt x="106701" y="266842"/>
                  <a:pt x="106701" y="258459"/>
                </a:cubicBezTo>
                <a:cubicBezTo>
                  <a:pt x="106701" y="250076"/>
                  <a:pt x="101112" y="244488"/>
                  <a:pt x="92730" y="244488"/>
                </a:cubicBezTo>
                <a:close/>
                <a:moveTo>
                  <a:pt x="328835" y="244488"/>
                </a:moveTo>
                <a:cubicBezTo>
                  <a:pt x="320452" y="244488"/>
                  <a:pt x="314864" y="251473"/>
                  <a:pt x="314864" y="258459"/>
                </a:cubicBezTo>
                <a:cubicBezTo>
                  <a:pt x="314864" y="265444"/>
                  <a:pt x="321849" y="272430"/>
                  <a:pt x="328835" y="272430"/>
                </a:cubicBezTo>
                <a:cubicBezTo>
                  <a:pt x="335820" y="272430"/>
                  <a:pt x="342806" y="266841"/>
                  <a:pt x="342806" y="258459"/>
                </a:cubicBezTo>
                <a:cubicBezTo>
                  <a:pt x="342806" y="250076"/>
                  <a:pt x="337217" y="244488"/>
                  <a:pt x="328835" y="244488"/>
                </a:cubicBezTo>
                <a:close/>
                <a:moveTo>
                  <a:pt x="328835" y="230517"/>
                </a:moveTo>
                <a:cubicBezTo>
                  <a:pt x="344203" y="230517"/>
                  <a:pt x="356777" y="243091"/>
                  <a:pt x="356777" y="258459"/>
                </a:cubicBezTo>
                <a:cubicBezTo>
                  <a:pt x="356777" y="273827"/>
                  <a:pt x="344203" y="285004"/>
                  <a:pt x="328835" y="285004"/>
                </a:cubicBezTo>
                <a:cubicBezTo>
                  <a:pt x="313467" y="285004"/>
                  <a:pt x="300893" y="273827"/>
                  <a:pt x="300893" y="258459"/>
                </a:cubicBezTo>
                <a:cubicBezTo>
                  <a:pt x="300893" y="243091"/>
                  <a:pt x="313467" y="230517"/>
                  <a:pt x="328835" y="230517"/>
                </a:cubicBezTo>
                <a:close/>
                <a:moveTo>
                  <a:pt x="203099" y="230517"/>
                </a:moveTo>
                <a:cubicBezTo>
                  <a:pt x="218467" y="230517"/>
                  <a:pt x="231041" y="243091"/>
                  <a:pt x="231041" y="258459"/>
                </a:cubicBezTo>
                <a:cubicBezTo>
                  <a:pt x="231041" y="273827"/>
                  <a:pt x="218467" y="286401"/>
                  <a:pt x="203099" y="286401"/>
                </a:cubicBezTo>
                <a:cubicBezTo>
                  <a:pt x="189128" y="286401"/>
                  <a:pt x="175157" y="273827"/>
                  <a:pt x="175157" y="258459"/>
                </a:cubicBezTo>
                <a:cubicBezTo>
                  <a:pt x="175157" y="243091"/>
                  <a:pt x="187731" y="230517"/>
                  <a:pt x="203099" y="230517"/>
                </a:cubicBezTo>
                <a:close/>
                <a:moveTo>
                  <a:pt x="92730" y="230517"/>
                </a:moveTo>
                <a:cubicBezTo>
                  <a:pt x="108098" y="230517"/>
                  <a:pt x="120672" y="243091"/>
                  <a:pt x="120672" y="258459"/>
                </a:cubicBezTo>
                <a:cubicBezTo>
                  <a:pt x="120672" y="273827"/>
                  <a:pt x="108098" y="286401"/>
                  <a:pt x="92730" y="286401"/>
                </a:cubicBezTo>
                <a:cubicBezTo>
                  <a:pt x="77362" y="286401"/>
                  <a:pt x="64788" y="273827"/>
                  <a:pt x="64788" y="258459"/>
                </a:cubicBezTo>
                <a:cubicBezTo>
                  <a:pt x="64788" y="243091"/>
                  <a:pt x="77362" y="230517"/>
                  <a:pt x="92730" y="230517"/>
                </a:cubicBezTo>
                <a:close/>
                <a:moveTo>
                  <a:pt x="60596" y="155075"/>
                </a:moveTo>
                <a:cubicBezTo>
                  <a:pt x="64788" y="155075"/>
                  <a:pt x="67583" y="157869"/>
                  <a:pt x="67583" y="162060"/>
                </a:cubicBezTo>
                <a:lnTo>
                  <a:pt x="67583" y="188605"/>
                </a:lnTo>
                <a:cubicBezTo>
                  <a:pt x="67583" y="192796"/>
                  <a:pt x="64788" y="195590"/>
                  <a:pt x="60596" y="195590"/>
                </a:cubicBezTo>
                <a:cubicBezTo>
                  <a:pt x="56406" y="195590"/>
                  <a:pt x="53611" y="192796"/>
                  <a:pt x="53611" y="188605"/>
                </a:cubicBezTo>
                <a:lnTo>
                  <a:pt x="53611" y="162060"/>
                </a:lnTo>
                <a:cubicBezTo>
                  <a:pt x="53611" y="157869"/>
                  <a:pt x="56406" y="155075"/>
                  <a:pt x="60596" y="155075"/>
                </a:cubicBezTo>
                <a:close/>
                <a:moveTo>
                  <a:pt x="328836" y="127134"/>
                </a:moveTo>
                <a:lnTo>
                  <a:pt x="348394" y="138311"/>
                </a:lnTo>
                <a:cubicBezTo>
                  <a:pt x="349791" y="139707"/>
                  <a:pt x="352586" y="141105"/>
                  <a:pt x="352586" y="143899"/>
                </a:cubicBezTo>
                <a:cubicBezTo>
                  <a:pt x="352586" y="145296"/>
                  <a:pt x="352586" y="148090"/>
                  <a:pt x="351188" y="150884"/>
                </a:cubicBezTo>
                <a:cubicBezTo>
                  <a:pt x="351188" y="152281"/>
                  <a:pt x="349791" y="152281"/>
                  <a:pt x="348394" y="153678"/>
                </a:cubicBezTo>
                <a:lnTo>
                  <a:pt x="328836" y="164855"/>
                </a:lnTo>
                <a:cubicBezTo>
                  <a:pt x="328836" y="166252"/>
                  <a:pt x="327438" y="166252"/>
                  <a:pt x="326041" y="166252"/>
                </a:cubicBezTo>
                <a:cubicBezTo>
                  <a:pt x="323247" y="166252"/>
                  <a:pt x="321850" y="166252"/>
                  <a:pt x="320453" y="163458"/>
                </a:cubicBezTo>
                <a:cubicBezTo>
                  <a:pt x="319056" y="160664"/>
                  <a:pt x="320453" y="156473"/>
                  <a:pt x="323247" y="155076"/>
                </a:cubicBezTo>
                <a:lnTo>
                  <a:pt x="326041" y="153678"/>
                </a:lnTo>
                <a:lnTo>
                  <a:pt x="144421" y="153678"/>
                </a:lnTo>
                <a:cubicBezTo>
                  <a:pt x="140230" y="153678"/>
                  <a:pt x="137436" y="150884"/>
                  <a:pt x="137436" y="146693"/>
                </a:cubicBezTo>
                <a:cubicBezTo>
                  <a:pt x="137436" y="142502"/>
                  <a:pt x="140230" y="139707"/>
                  <a:pt x="144421" y="139707"/>
                </a:cubicBezTo>
                <a:lnTo>
                  <a:pt x="326041" y="139707"/>
                </a:lnTo>
                <a:lnTo>
                  <a:pt x="323247" y="138311"/>
                </a:lnTo>
                <a:cubicBezTo>
                  <a:pt x="320453" y="136914"/>
                  <a:pt x="319056" y="132722"/>
                  <a:pt x="320453" y="129928"/>
                </a:cubicBezTo>
                <a:cubicBezTo>
                  <a:pt x="321850" y="127134"/>
                  <a:pt x="326041" y="125737"/>
                  <a:pt x="328836" y="127134"/>
                </a:cubicBezTo>
                <a:close/>
                <a:moveTo>
                  <a:pt x="64788" y="83825"/>
                </a:moveTo>
                <a:lnTo>
                  <a:pt x="190525" y="83825"/>
                </a:lnTo>
                <a:cubicBezTo>
                  <a:pt x="200305" y="83825"/>
                  <a:pt x="208687" y="93604"/>
                  <a:pt x="208687" y="103384"/>
                </a:cubicBezTo>
                <a:cubicBezTo>
                  <a:pt x="208687" y="104781"/>
                  <a:pt x="208687" y="106178"/>
                  <a:pt x="208687" y="106178"/>
                </a:cubicBezTo>
                <a:cubicBezTo>
                  <a:pt x="208687" y="115958"/>
                  <a:pt x="200305" y="125737"/>
                  <a:pt x="190525" y="125737"/>
                </a:cubicBezTo>
                <a:lnTo>
                  <a:pt x="123466" y="125737"/>
                </a:lnTo>
                <a:lnTo>
                  <a:pt x="123466" y="190003"/>
                </a:lnTo>
                <a:cubicBezTo>
                  <a:pt x="123466" y="194194"/>
                  <a:pt x="120671" y="196988"/>
                  <a:pt x="116480" y="196988"/>
                </a:cubicBezTo>
                <a:cubicBezTo>
                  <a:pt x="112289" y="196988"/>
                  <a:pt x="109495" y="194194"/>
                  <a:pt x="109495" y="190003"/>
                </a:cubicBezTo>
                <a:lnTo>
                  <a:pt x="109495" y="127134"/>
                </a:lnTo>
                <a:cubicBezTo>
                  <a:pt x="109495" y="118752"/>
                  <a:pt x="115083" y="113163"/>
                  <a:pt x="123466" y="113163"/>
                </a:cubicBezTo>
                <a:lnTo>
                  <a:pt x="190525" y="113163"/>
                </a:lnTo>
                <a:cubicBezTo>
                  <a:pt x="193320" y="113163"/>
                  <a:pt x="196114" y="110370"/>
                  <a:pt x="196114" y="107575"/>
                </a:cubicBezTo>
                <a:cubicBezTo>
                  <a:pt x="196114" y="106178"/>
                  <a:pt x="196114" y="104781"/>
                  <a:pt x="196114" y="104781"/>
                </a:cubicBezTo>
                <a:cubicBezTo>
                  <a:pt x="196114" y="100590"/>
                  <a:pt x="193320" y="97796"/>
                  <a:pt x="190525" y="97796"/>
                </a:cubicBezTo>
                <a:lnTo>
                  <a:pt x="66186" y="97796"/>
                </a:lnTo>
                <a:cubicBezTo>
                  <a:pt x="53612" y="97796"/>
                  <a:pt x="41038" y="99193"/>
                  <a:pt x="39641" y="132722"/>
                </a:cubicBezTo>
                <a:lnTo>
                  <a:pt x="39641" y="188606"/>
                </a:lnTo>
                <a:cubicBezTo>
                  <a:pt x="39641" y="192797"/>
                  <a:pt x="35450" y="195591"/>
                  <a:pt x="32655" y="195591"/>
                </a:cubicBezTo>
                <a:cubicBezTo>
                  <a:pt x="28464" y="195591"/>
                  <a:pt x="25670" y="192797"/>
                  <a:pt x="25670" y="188606"/>
                </a:cubicBezTo>
                <a:lnTo>
                  <a:pt x="25670" y="131326"/>
                </a:lnTo>
                <a:cubicBezTo>
                  <a:pt x="27067" y="92207"/>
                  <a:pt x="45229" y="85222"/>
                  <a:pt x="64788" y="83825"/>
                </a:cubicBezTo>
                <a:close/>
                <a:moveTo>
                  <a:pt x="88539" y="34927"/>
                </a:moveTo>
                <a:cubicBezTo>
                  <a:pt x="80156" y="34927"/>
                  <a:pt x="74568" y="41912"/>
                  <a:pt x="74568" y="48898"/>
                </a:cubicBezTo>
                <a:cubicBezTo>
                  <a:pt x="74568" y="55883"/>
                  <a:pt x="81553" y="62869"/>
                  <a:pt x="88539" y="62869"/>
                </a:cubicBezTo>
                <a:cubicBezTo>
                  <a:pt x="95524" y="62869"/>
                  <a:pt x="102510" y="55883"/>
                  <a:pt x="102510" y="48898"/>
                </a:cubicBezTo>
                <a:cubicBezTo>
                  <a:pt x="102510" y="41912"/>
                  <a:pt x="96921" y="34927"/>
                  <a:pt x="88539" y="34927"/>
                </a:cubicBezTo>
                <a:close/>
                <a:moveTo>
                  <a:pt x="88539" y="20956"/>
                </a:moveTo>
                <a:cubicBezTo>
                  <a:pt x="103907" y="20956"/>
                  <a:pt x="116481" y="33530"/>
                  <a:pt x="116481" y="48898"/>
                </a:cubicBezTo>
                <a:cubicBezTo>
                  <a:pt x="116481" y="64265"/>
                  <a:pt x="103907" y="76839"/>
                  <a:pt x="88539" y="76839"/>
                </a:cubicBezTo>
                <a:cubicBezTo>
                  <a:pt x="73171" y="76839"/>
                  <a:pt x="60597" y="64265"/>
                  <a:pt x="60597" y="48898"/>
                </a:cubicBezTo>
                <a:cubicBezTo>
                  <a:pt x="60597" y="33530"/>
                  <a:pt x="73171" y="20956"/>
                  <a:pt x="88539" y="20956"/>
                </a:cubicBezTo>
                <a:close/>
                <a:moveTo>
                  <a:pt x="145819" y="0"/>
                </a:moveTo>
                <a:lnTo>
                  <a:pt x="360968" y="0"/>
                </a:lnTo>
                <a:cubicBezTo>
                  <a:pt x="376336" y="0"/>
                  <a:pt x="388909" y="13971"/>
                  <a:pt x="388909" y="29338"/>
                </a:cubicBezTo>
                <a:lnTo>
                  <a:pt x="388909" y="183017"/>
                </a:lnTo>
                <a:cubicBezTo>
                  <a:pt x="388909" y="198384"/>
                  <a:pt x="376336" y="210958"/>
                  <a:pt x="360968" y="210958"/>
                </a:cubicBezTo>
                <a:lnTo>
                  <a:pt x="298099" y="210958"/>
                </a:lnTo>
                <a:lnTo>
                  <a:pt x="144421" y="210958"/>
                </a:lnTo>
                <a:cubicBezTo>
                  <a:pt x="140230" y="210958"/>
                  <a:pt x="137436" y="208164"/>
                  <a:pt x="137436" y="203973"/>
                </a:cubicBezTo>
                <a:cubicBezTo>
                  <a:pt x="137436" y="199781"/>
                  <a:pt x="140230" y="196988"/>
                  <a:pt x="144421" y="196988"/>
                </a:cubicBezTo>
                <a:lnTo>
                  <a:pt x="298099" y="196988"/>
                </a:lnTo>
                <a:lnTo>
                  <a:pt x="359571" y="196988"/>
                </a:lnTo>
                <a:cubicBezTo>
                  <a:pt x="367953" y="196988"/>
                  <a:pt x="374938" y="190002"/>
                  <a:pt x="374938" y="181620"/>
                </a:cubicBezTo>
                <a:lnTo>
                  <a:pt x="374938" y="29338"/>
                </a:lnTo>
                <a:cubicBezTo>
                  <a:pt x="374938" y="20956"/>
                  <a:pt x="369350" y="13971"/>
                  <a:pt x="360968" y="13971"/>
                </a:cubicBezTo>
                <a:lnTo>
                  <a:pt x="145819" y="13971"/>
                </a:lnTo>
                <a:cubicBezTo>
                  <a:pt x="143024" y="13971"/>
                  <a:pt x="138833" y="11176"/>
                  <a:pt x="138833" y="6985"/>
                </a:cubicBezTo>
                <a:cubicBezTo>
                  <a:pt x="138833" y="2794"/>
                  <a:pt x="141627" y="0"/>
                  <a:pt x="145819" y="0"/>
                </a:cubicBezTo>
                <a:close/>
              </a:path>
            </a:pathLst>
          </a:custGeom>
          <a:solidFill>
            <a:srgbClr val="00A460"/>
          </a:solidFill>
          <a:ln w="2411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pic>
        <p:nvPicPr>
          <p:cNvPr id="91" name="Рисунок 458">
            <a:extLst>
              <a:ext uri="{FF2B5EF4-FFF2-40B4-BE49-F238E27FC236}">
                <a16:creationId xmlns:a16="http://schemas.microsoft.com/office/drawing/2014/main" id="{97612064-BAC4-7744-A8CD-64811A5E547A}"/>
              </a:ext>
            </a:extLst>
          </p:cNvPr>
          <p:cNvPicPr>
            <a:picLocks noChangeAspect="1"/>
          </p:cNvPicPr>
          <p:nvPr/>
        </p:nvPicPr>
        <p:blipFill>
          <a:blip r:embed="rId7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306106" y="1030527"/>
            <a:ext cx="662795" cy="66279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3805799" y="5665907"/>
            <a:ext cx="50998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ru-RU" b="1" dirty="0"/>
              <a:t>Постоянное взаимодействие с Заказчиком</a:t>
            </a:r>
          </a:p>
        </p:txBody>
      </p:sp>
      <p:sp>
        <p:nvSpPr>
          <p:cNvPr id="13" name="Left Bracket 12"/>
          <p:cNvSpPr/>
          <p:nvPr/>
        </p:nvSpPr>
        <p:spPr>
          <a:xfrm rot="16200000">
            <a:off x="5929907" y="-536680"/>
            <a:ext cx="335945" cy="11962482"/>
          </a:xfrm>
          <a:prstGeom prst="leftBracket">
            <a:avLst>
              <a:gd name="adj" fmla="val 62461"/>
            </a:avLst>
          </a:prstGeom>
          <a:ln w="28575">
            <a:solidFill>
              <a:srgbClr val="00A4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1469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5" grpId="0"/>
      <p:bldP spid="56" grpId="0"/>
      <p:bldP spid="57" grpId="0"/>
      <p:bldP spid="58" grpId="0"/>
      <p:bldP spid="63" grpId="0" animBg="1"/>
      <p:bldP spid="64" grpId="0"/>
      <p:bldP spid="71" grpId="0" animBg="1"/>
      <p:bldP spid="73" grpId="0"/>
      <p:bldP spid="82" grpId="0" animBg="1"/>
      <p:bldP spid="84" grpId="0"/>
      <p:bldP spid="97" grpId="0" animBg="1"/>
      <p:bldP spid="98" grpId="0"/>
      <p:bldP spid="115" grpId="0" animBg="1"/>
      <p:bldP spid="117" grpId="0"/>
      <p:bldP spid="90" grpId="0" animBg="1"/>
      <p:bldP spid="12" grpId="0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9EB02C3-E27F-334C-BC21-00384CB9145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6097" y="2296907"/>
            <a:ext cx="4565903" cy="4565903"/>
          </a:xfrm>
          <a:prstGeom prst="rect">
            <a:avLst/>
          </a:prstGeom>
        </p:spPr>
      </p:pic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235D6012-2DAD-7B4A-AE93-05AC74161AED}"/>
              </a:ext>
            </a:extLst>
          </p:cNvPr>
          <p:cNvCxnSpPr>
            <a:cxnSpLocks/>
            <a:stCxn id="17" idx="2"/>
            <a:endCxn id="15" idx="0"/>
          </p:cNvCxnSpPr>
          <p:nvPr/>
        </p:nvCxnSpPr>
        <p:spPr>
          <a:xfrm>
            <a:off x="1174917" y="1571226"/>
            <a:ext cx="0" cy="3746113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/>
          <p:cNvSpPr txBox="1">
            <a:spLocks/>
          </p:cNvSpPr>
          <p:nvPr/>
        </p:nvSpPr>
        <p:spPr>
          <a:xfrm>
            <a:off x="1424780" y="1248907"/>
            <a:ext cx="6226903" cy="391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800" dirty="0" smtClean="0">
                <a:latin typeface="+mj-lt"/>
              </a:rPr>
              <a:t>Определение подхода к работе с требованиями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8681F16-4492-344B-9082-E197354FCBC1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Проекты (2/3</a:t>
            </a:r>
            <a:r>
              <a:rPr lang="ru-RU" dirty="0"/>
              <a:t>)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FD733C9-045E-C546-AFFB-4DD8B98DDA6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50894">
            <a:off x="8672997" y="-2225421"/>
            <a:ext cx="6710131" cy="4976764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C7166B7-9EAD-1848-A99F-CA1A10203E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48139" y="1317670"/>
            <a:ext cx="253556" cy="25355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  <p:pic>
        <p:nvPicPr>
          <p:cNvPr id="15" name="Рисунок 18">
            <a:extLst>
              <a:ext uri="{FF2B5EF4-FFF2-40B4-BE49-F238E27FC236}">
                <a16:creationId xmlns:a16="http://schemas.microsoft.com/office/drawing/2014/main" id="{EA2B2910-69AE-154D-B442-F6D09744A6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48139" y="5317339"/>
            <a:ext cx="253556" cy="253556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1037757" y="1799460"/>
            <a:ext cx="274320" cy="274320"/>
            <a:chOff x="1047214" y="1679258"/>
            <a:chExt cx="274320" cy="274320"/>
          </a:xfrm>
        </p:grpSpPr>
        <p:sp>
          <p:nvSpPr>
            <p:cNvPr id="26" name="Oval 25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7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grpSp>
        <p:nvGrpSpPr>
          <p:cNvPr id="28" name="Group 27"/>
          <p:cNvGrpSpPr/>
          <p:nvPr/>
        </p:nvGrpSpPr>
        <p:grpSpPr>
          <a:xfrm>
            <a:off x="1037757" y="2302014"/>
            <a:ext cx="274320" cy="274320"/>
            <a:chOff x="1047214" y="1679258"/>
            <a:chExt cx="274320" cy="274320"/>
          </a:xfrm>
        </p:grpSpPr>
        <p:sp>
          <p:nvSpPr>
            <p:cNvPr id="29" name="Oval 28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0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grpSp>
        <p:nvGrpSpPr>
          <p:cNvPr id="31" name="Group 30"/>
          <p:cNvGrpSpPr/>
          <p:nvPr/>
        </p:nvGrpSpPr>
        <p:grpSpPr>
          <a:xfrm>
            <a:off x="1037757" y="2804568"/>
            <a:ext cx="274320" cy="274320"/>
            <a:chOff x="1047214" y="1679258"/>
            <a:chExt cx="274320" cy="274320"/>
          </a:xfrm>
        </p:grpSpPr>
        <p:sp>
          <p:nvSpPr>
            <p:cNvPr id="32" name="Oval 31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3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grpSp>
        <p:nvGrpSpPr>
          <p:cNvPr id="34" name="Group 33"/>
          <p:cNvGrpSpPr/>
          <p:nvPr/>
        </p:nvGrpSpPr>
        <p:grpSpPr>
          <a:xfrm>
            <a:off x="1037757" y="3307122"/>
            <a:ext cx="274320" cy="274320"/>
            <a:chOff x="1047214" y="1679258"/>
            <a:chExt cx="274320" cy="274320"/>
          </a:xfrm>
        </p:grpSpPr>
        <p:sp>
          <p:nvSpPr>
            <p:cNvPr id="35" name="Oval 34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6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grpSp>
        <p:nvGrpSpPr>
          <p:cNvPr id="37" name="Group 36"/>
          <p:cNvGrpSpPr/>
          <p:nvPr/>
        </p:nvGrpSpPr>
        <p:grpSpPr>
          <a:xfrm>
            <a:off x="1037757" y="3809676"/>
            <a:ext cx="274320" cy="274320"/>
            <a:chOff x="1047214" y="1679258"/>
            <a:chExt cx="274320" cy="274320"/>
          </a:xfrm>
        </p:grpSpPr>
        <p:sp>
          <p:nvSpPr>
            <p:cNvPr id="38" name="Oval 37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9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1037757" y="4312230"/>
            <a:ext cx="274320" cy="274320"/>
            <a:chOff x="1047214" y="1679258"/>
            <a:chExt cx="274320" cy="274320"/>
          </a:xfrm>
        </p:grpSpPr>
        <p:sp>
          <p:nvSpPr>
            <p:cNvPr id="41" name="Oval 40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2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37757" y="4814784"/>
            <a:ext cx="274320" cy="274320"/>
            <a:chOff x="1047214" y="1679258"/>
            <a:chExt cx="274320" cy="274320"/>
          </a:xfrm>
        </p:grpSpPr>
        <p:sp>
          <p:nvSpPr>
            <p:cNvPr id="44" name="Oval 43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5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sp>
        <p:nvSpPr>
          <p:cNvPr id="47" name="Text Placeholder 3"/>
          <p:cNvSpPr txBox="1">
            <a:spLocks/>
          </p:cNvSpPr>
          <p:nvPr/>
        </p:nvSpPr>
        <p:spPr>
          <a:xfrm>
            <a:off x="1424780" y="1753357"/>
            <a:ext cx="6226903" cy="391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800" dirty="0"/>
              <a:t>Определение регламента управления изменениями</a:t>
            </a:r>
          </a:p>
        </p:txBody>
      </p:sp>
      <p:sp>
        <p:nvSpPr>
          <p:cNvPr id="48" name="Text Placeholder 3"/>
          <p:cNvSpPr txBox="1">
            <a:spLocks/>
          </p:cNvSpPr>
          <p:nvPr/>
        </p:nvSpPr>
        <p:spPr>
          <a:xfrm>
            <a:off x="1424780" y="2257807"/>
            <a:ext cx="6226903" cy="391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800" dirty="0"/>
              <a:t>Выявление требований</a:t>
            </a:r>
          </a:p>
        </p:txBody>
      </p:sp>
      <p:sp>
        <p:nvSpPr>
          <p:cNvPr id="50" name="Text Placeholder 3"/>
          <p:cNvSpPr txBox="1">
            <a:spLocks/>
          </p:cNvSpPr>
          <p:nvPr/>
        </p:nvSpPr>
        <p:spPr>
          <a:xfrm>
            <a:off x="1424780" y="2762257"/>
            <a:ext cx="6226903" cy="391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800" dirty="0" smtClean="0"/>
              <a:t>Формализация требований</a:t>
            </a:r>
            <a:endParaRPr lang="ru-RU" sz="1800" dirty="0"/>
          </a:p>
        </p:txBody>
      </p:sp>
      <p:sp>
        <p:nvSpPr>
          <p:cNvPr id="51" name="Text Placeholder 3"/>
          <p:cNvSpPr txBox="1">
            <a:spLocks/>
          </p:cNvSpPr>
          <p:nvPr/>
        </p:nvSpPr>
        <p:spPr>
          <a:xfrm>
            <a:off x="1424780" y="3266707"/>
            <a:ext cx="6226903" cy="391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800" dirty="0"/>
              <a:t>Верификация и </a:t>
            </a:r>
            <a:r>
              <a:rPr lang="ru-RU" sz="1800" dirty="0" err="1"/>
              <a:t>валидация</a:t>
            </a:r>
            <a:r>
              <a:rPr lang="ru-RU" sz="1800" dirty="0"/>
              <a:t> </a:t>
            </a:r>
            <a:r>
              <a:rPr lang="ru-RU" sz="1800" dirty="0" smtClean="0"/>
              <a:t>требований</a:t>
            </a:r>
            <a:endParaRPr lang="ru-RU" sz="1800" dirty="0"/>
          </a:p>
        </p:txBody>
      </p:sp>
      <p:sp>
        <p:nvSpPr>
          <p:cNvPr id="52" name="Text Placeholder 3"/>
          <p:cNvSpPr txBox="1">
            <a:spLocks/>
          </p:cNvSpPr>
          <p:nvPr/>
        </p:nvSpPr>
        <p:spPr>
          <a:xfrm>
            <a:off x="1424780" y="3771157"/>
            <a:ext cx="6226903" cy="391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800" dirty="0"/>
              <a:t>Управление </a:t>
            </a:r>
            <a:r>
              <a:rPr lang="ru-RU" sz="1800" dirty="0" smtClean="0"/>
              <a:t>ЖЦ требований</a:t>
            </a:r>
            <a:endParaRPr lang="ru-RU" sz="1800" dirty="0"/>
          </a:p>
        </p:txBody>
      </p:sp>
      <p:sp>
        <p:nvSpPr>
          <p:cNvPr id="53" name="Text Placeholder 3"/>
          <p:cNvSpPr txBox="1">
            <a:spLocks/>
          </p:cNvSpPr>
          <p:nvPr/>
        </p:nvSpPr>
        <p:spPr>
          <a:xfrm>
            <a:off x="1424780" y="4275607"/>
            <a:ext cx="6226903" cy="391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800" dirty="0"/>
              <a:t>Анализ потенциальной ценности</a:t>
            </a:r>
          </a:p>
        </p:txBody>
      </p:sp>
      <p:sp>
        <p:nvSpPr>
          <p:cNvPr id="54" name="Text Placeholder 3"/>
          <p:cNvSpPr txBox="1">
            <a:spLocks/>
          </p:cNvSpPr>
          <p:nvPr/>
        </p:nvSpPr>
        <p:spPr>
          <a:xfrm>
            <a:off x="1424780" y="4780057"/>
            <a:ext cx="6226903" cy="391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800" dirty="0"/>
              <a:t>Определение и согласование вариантов дизайна</a:t>
            </a:r>
          </a:p>
        </p:txBody>
      </p:sp>
      <p:sp>
        <p:nvSpPr>
          <p:cNvPr id="55" name="Text Placeholder 3"/>
          <p:cNvSpPr txBox="1">
            <a:spLocks/>
          </p:cNvSpPr>
          <p:nvPr/>
        </p:nvSpPr>
        <p:spPr>
          <a:xfrm>
            <a:off x="1424780" y="5284509"/>
            <a:ext cx="6226903" cy="3910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800" dirty="0"/>
              <a:t>Контроль объема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2893030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47" grpId="0"/>
      <p:bldP spid="48" grpId="0"/>
      <p:bldP spid="50" grpId="0"/>
      <p:bldP spid="51" grpId="0"/>
      <p:bldP spid="52" grpId="0"/>
      <p:bldP spid="53" grpId="0"/>
      <p:bldP spid="54" grpId="0"/>
      <p:bldP spid="5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235D6012-2DAD-7B4A-AE93-05AC74161AED}"/>
              </a:ext>
            </a:extLst>
          </p:cNvPr>
          <p:cNvCxnSpPr>
            <a:cxnSpLocks/>
            <a:stCxn id="17" idx="2"/>
            <a:endCxn id="15" idx="0"/>
          </p:cNvCxnSpPr>
          <p:nvPr/>
        </p:nvCxnSpPr>
        <p:spPr>
          <a:xfrm flipH="1">
            <a:off x="1194756" y="2328554"/>
            <a:ext cx="3691" cy="1661255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/>
          <p:cNvSpPr txBox="1">
            <a:spLocks/>
          </p:cNvSpPr>
          <p:nvPr/>
        </p:nvSpPr>
        <p:spPr>
          <a:xfrm>
            <a:off x="1387914" y="2020106"/>
            <a:ext cx="6691739" cy="4429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 smtClean="0"/>
              <a:t>Постановка </a:t>
            </a:r>
            <a:r>
              <a:rPr lang="ru-RU" sz="2400" dirty="0"/>
              <a:t>задач </a:t>
            </a:r>
            <a:r>
              <a:rPr lang="ru-RU" sz="2400" dirty="0" smtClean="0"/>
              <a:t>команде проекта</a:t>
            </a:r>
            <a:endParaRPr lang="ru-RU" sz="240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8681F16-4492-344B-9082-E197354FCBC1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Проекты </a:t>
            </a:r>
            <a:r>
              <a:rPr lang="ru-RU" dirty="0" smtClean="0"/>
              <a:t>(3/3</a:t>
            </a:r>
            <a:r>
              <a:rPr lang="ru-RU" dirty="0"/>
              <a:t>)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FD733C9-045E-C546-AFFB-4DD8B98DDA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50894">
            <a:off x="8672997" y="-2225421"/>
            <a:ext cx="6710131" cy="4976764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1057596" y="2060925"/>
            <a:ext cx="274320" cy="274320"/>
            <a:chOff x="1047214" y="1679258"/>
            <a:chExt cx="274320" cy="274320"/>
          </a:xfrm>
        </p:grpSpPr>
        <p:sp>
          <p:nvSpPr>
            <p:cNvPr id="3" name="Oval 2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6206217"/>
            <a:ext cx="1027730" cy="506157"/>
          </a:xfrm>
          <a:prstGeom prst="rect">
            <a:avLst/>
          </a:prstGeom>
        </p:spPr>
      </p:pic>
      <p:pic>
        <p:nvPicPr>
          <p:cNvPr id="15" name="Рисунок 18">
            <a:extLst>
              <a:ext uri="{FF2B5EF4-FFF2-40B4-BE49-F238E27FC236}">
                <a16:creationId xmlns:a16="http://schemas.microsoft.com/office/drawing/2014/main" id="{EA2B2910-69AE-154D-B442-F6D09744A6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67978" y="3989809"/>
            <a:ext cx="253556" cy="253556"/>
          </a:xfrm>
          <a:prstGeom prst="rect">
            <a:avLst/>
          </a:prstGeom>
        </p:spPr>
      </p:pic>
      <p:pic>
        <p:nvPicPr>
          <p:cNvPr id="21" name="Рисунок 5">
            <a:extLst>
              <a:ext uri="{FF2B5EF4-FFF2-40B4-BE49-F238E27FC236}">
                <a16:creationId xmlns:a16="http://schemas.microsoft.com/office/drawing/2014/main" id="{69EB02C3-E27F-334C-BC21-00384CB9145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8571" y="2292097"/>
            <a:ext cx="4565903" cy="4565903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1057596" y="2543146"/>
            <a:ext cx="274320" cy="274320"/>
            <a:chOff x="1047214" y="1679258"/>
            <a:chExt cx="274320" cy="274320"/>
          </a:xfrm>
        </p:grpSpPr>
        <p:sp>
          <p:nvSpPr>
            <p:cNvPr id="23" name="Oval 22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4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1057596" y="3025367"/>
            <a:ext cx="274320" cy="274320"/>
            <a:chOff x="1047214" y="1679258"/>
            <a:chExt cx="274320" cy="274320"/>
          </a:xfrm>
        </p:grpSpPr>
        <p:sp>
          <p:nvSpPr>
            <p:cNvPr id="26" name="Oval 25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7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grpSp>
        <p:nvGrpSpPr>
          <p:cNvPr id="28" name="Group 27"/>
          <p:cNvGrpSpPr/>
          <p:nvPr/>
        </p:nvGrpSpPr>
        <p:grpSpPr>
          <a:xfrm>
            <a:off x="1057596" y="3507588"/>
            <a:ext cx="274320" cy="274320"/>
            <a:chOff x="1047214" y="1679258"/>
            <a:chExt cx="274320" cy="274320"/>
          </a:xfrm>
        </p:grpSpPr>
        <p:sp>
          <p:nvSpPr>
            <p:cNvPr id="29" name="Oval 28"/>
            <p:cNvSpPr/>
            <p:nvPr/>
          </p:nvSpPr>
          <p:spPr>
            <a:xfrm>
              <a:off x="1047214" y="1679258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0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061287" y="1693331"/>
              <a:ext cx="253556" cy="253556"/>
            </a:xfrm>
            <a:prstGeom prst="rect">
              <a:avLst/>
            </a:prstGeom>
          </p:spPr>
        </p:pic>
      </p:grpSp>
      <p:sp>
        <p:nvSpPr>
          <p:cNvPr id="33" name="Text Placeholder 3"/>
          <p:cNvSpPr txBox="1">
            <a:spLocks/>
          </p:cNvSpPr>
          <p:nvPr/>
        </p:nvSpPr>
        <p:spPr>
          <a:xfrm>
            <a:off x="1387914" y="2493938"/>
            <a:ext cx="6691739" cy="4429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/>
              <a:t>Контроль выполнения задач команды</a:t>
            </a:r>
          </a:p>
        </p:txBody>
      </p:sp>
      <p:sp>
        <p:nvSpPr>
          <p:cNvPr id="34" name="Text Placeholder 3"/>
          <p:cNvSpPr txBox="1">
            <a:spLocks/>
          </p:cNvSpPr>
          <p:nvPr/>
        </p:nvSpPr>
        <p:spPr>
          <a:xfrm>
            <a:off x="1387914" y="2967770"/>
            <a:ext cx="6691739" cy="4429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/>
              <a:t>Организация совместной работы команды </a:t>
            </a:r>
          </a:p>
        </p:txBody>
      </p:sp>
      <p:sp>
        <p:nvSpPr>
          <p:cNvPr id="35" name="Text Placeholder 3"/>
          <p:cNvSpPr txBox="1">
            <a:spLocks/>
          </p:cNvSpPr>
          <p:nvPr/>
        </p:nvSpPr>
        <p:spPr>
          <a:xfrm>
            <a:off x="1387914" y="3441602"/>
            <a:ext cx="6691739" cy="4429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/>
              <a:t>Выстраивание </a:t>
            </a:r>
            <a:r>
              <a:rPr lang="ru-RU" sz="2400" dirty="0" err="1"/>
              <a:t>релизной</a:t>
            </a:r>
            <a:r>
              <a:rPr lang="ru-RU" sz="2400" dirty="0"/>
              <a:t> политики</a:t>
            </a:r>
          </a:p>
        </p:txBody>
      </p:sp>
      <p:sp>
        <p:nvSpPr>
          <p:cNvPr id="36" name="Text Placeholder 3"/>
          <p:cNvSpPr txBox="1">
            <a:spLocks/>
          </p:cNvSpPr>
          <p:nvPr/>
        </p:nvSpPr>
        <p:spPr>
          <a:xfrm>
            <a:off x="1387914" y="3915435"/>
            <a:ext cx="6691739" cy="4429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2400" dirty="0"/>
              <a:t>Создание необходимой атмосферы</a:t>
            </a:r>
          </a:p>
        </p:txBody>
      </p:sp>
    </p:spTree>
    <p:extLst>
      <p:ext uri="{BB962C8B-B14F-4D97-AF65-F5344CB8AC3E}">
        <p14:creationId xmlns:p14="http://schemas.microsoft.com/office/powerpoint/2010/main" val="665682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33" grpId="0"/>
      <p:bldP spid="34" grpId="0"/>
      <p:bldP spid="35" grpId="0"/>
      <p:bldP spid="3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4205540C-DC82-0F4A-BC67-FE39AC01F59F}"/>
              </a:ext>
            </a:extLst>
          </p:cNvPr>
          <p:cNvGrpSpPr/>
          <p:nvPr/>
        </p:nvGrpSpPr>
        <p:grpSpPr>
          <a:xfrm>
            <a:off x="597928" y="2358787"/>
            <a:ext cx="11090910" cy="3074313"/>
            <a:chOff x="1123566" y="2414492"/>
            <a:chExt cx="9992760" cy="3247371"/>
          </a:xfrm>
        </p:grpSpPr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802F1CB3-9278-E14D-B91B-D6B7E8BEDDBB}"/>
                </a:ext>
              </a:extLst>
            </p:cNvPr>
            <p:cNvSpPr/>
            <p:nvPr/>
          </p:nvSpPr>
          <p:spPr>
            <a:xfrm>
              <a:off x="1522923" y="2414492"/>
              <a:ext cx="9593403" cy="1617596"/>
            </a:xfrm>
            <a:custGeom>
              <a:avLst/>
              <a:gdLst>
                <a:gd name="connsiteX0" fmla="*/ 0 w 11682099"/>
                <a:gd name="connsiteY0" fmla="*/ 232954 h 3237583"/>
                <a:gd name="connsiteX1" fmla="*/ 10300447 w 11682099"/>
                <a:gd name="connsiteY1" fmla="*/ 219507 h 3237583"/>
                <a:gd name="connsiteX2" fmla="*/ 10475258 w 11682099"/>
                <a:gd name="connsiteY2" fmla="*/ 2545848 h 3237583"/>
                <a:gd name="connsiteX3" fmla="*/ 107576 w 11682099"/>
                <a:gd name="connsiteY3" fmla="*/ 2639977 h 3237583"/>
                <a:gd name="connsiteX0" fmla="*/ 0 w 11682099"/>
                <a:gd name="connsiteY0" fmla="*/ 232954 h 2757781"/>
                <a:gd name="connsiteX1" fmla="*/ 10300447 w 11682099"/>
                <a:gd name="connsiteY1" fmla="*/ 219507 h 2757781"/>
                <a:gd name="connsiteX2" fmla="*/ 10475258 w 11682099"/>
                <a:gd name="connsiteY2" fmla="*/ 2545848 h 2757781"/>
                <a:gd name="connsiteX3" fmla="*/ 107576 w 11682099"/>
                <a:gd name="connsiteY3" fmla="*/ 2639977 h 2757781"/>
                <a:gd name="connsiteX0" fmla="*/ 0 w 11673274"/>
                <a:gd name="connsiteY0" fmla="*/ 102382 h 2627209"/>
                <a:gd name="connsiteX1" fmla="*/ 10300447 w 11673274"/>
                <a:gd name="connsiteY1" fmla="*/ 88935 h 2627209"/>
                <a:gd name="connsiteX2" fmla="*/ 10475258 w 11673274"/>
                <a:gd name="connsiteY2" fmla="*/ 2415276 h 2627209"/>
                <a:gd name="connsiteX3" fmla="*/ 107576 w 11673274"/>
                <a:gd name="connsiteY3" fmla="*/ 2509405 h 2627209"/>
                <a:gd name="connsiteX0" fmla="*/ 0 w 11695952"/>
                <a:gd name="connsiteY0" fmla="*/ 102382 h 2509405"/>
                <a:gd name="connsiteX1" fmla="*/ 10300447 w 11695952"/>
                <a:gd name="connsiteY1" fmla="*/ 88935 h 2509405"/>
                <a:gd name="connsiteX2" fmla="*/ 10475258 w 11695952"/>
                <a:gd name="connsiteY2" fmla="*/ 2415276 h 2509405"/>
                <a:gd name="connsiteX3" fmla="*/ 107576 w 11695952"/>
                <a:gd name="connsiteY3" fmla="*/ 2509405 h 2509405"/>
                <a:gd name="connsiteX0" fmla="*/ 0 w 11179314"/>
                <a:gd name="connsiteY0" fmla="*/ 233538 h 2640561"/>
                <a:gd name="connsiteX1" fmla="*/ 10300447 w 11179314"/>
                <a:gd name="connsiteY1" fmla="*/ 220091 h 2640561"/>
                <a:gd name="connsiteX2" fmla="*/ 9429052 w 11179314"/>
                <a:gd name="connsiteY2" fmla="*/ 2554670 h 2640561"/>
                <a:gd name="connsiteX3" fmla="*/ 107576 w 11179314"/>
                <a:gd name="connsiteY3" fmla="*/ 2640561 h 2640561"/>
                <a:gd name="connsiteX0" fmla="*/ 0 w 10572309"/>
                <a:gd name="connsiteY0" fmla="*/ 228424 h 2745861"/>
                <a:gd name="connsiteX1" fmla="*/ 9377809 w 10572309"/>
                <a:gd name="connsiteY1" fmla="*/ 223215 h 2745861"/>
                <a:gd name="connsiteX2" fmla="*/ 9429052 w 10572309"/>
                <a:gd name="connsiteY2" fmla="*/ 2549556 h 2745861"/>
                <a:gd name="connsiteX3" fmla="*/ 107576 w 10572309"/>
                <a:gd name="connsiteY3" fmla="*/ 2635447 h 2745861"/>
                <a:gd name="connsiteX0" fmla="*/ 0 w 10590692"/>
                <a:gd name="connsiteY0" fmla="*/ 97932 h 2615369"/>
                <a:gd name="connsiteX1" fmla="*/ 9377809 w 10590692"/>
                <a:gd name="connsiteY1" fmla="*/ 92723 h 2615369"/>
                <a:gd name="connsiteX2" fmla="*/ 9429052 w 10590692"/>
                <a:gd name="connsiteY2" fmla="*/ 2419064 h 2615369"/>
                <a:gd name="connsiteX3" fmla="*/ 107576 w 10590692"/>
                <a:gd name="connsiteY3" fmla="*/ 2504955 h 2615369"/>
                <a:gd name="connsiteX0" fmla="*/ 0 w 10596904"/>
                <a:gd name="connsiteY0" fmla="*/ 97932 h 2504955"/>
                <a:gd name="connsiteX1" fmla="*/ 9377809 w 10596904"/>
                <a:gd name="connsiteY1" fmla="*/ 92723 h 2504955"/>
                <a:gd name="connsiteX2" fmla="*/ 9429052 w 10596904"/>
                <a:gd name="connsiteY2" fmla="*/ 2419064 h 2504955"/>
                <a:gd name="connsiteX3" fmla="*/ 107576 w 10596904"/>
                <a:gd name="connsiteY3" fmla="*/ 2504955 h 2504955"/>
                <a:gd name="connsiteX0" fmla="*/ 0 w 10596904"/>
                <a:gd name="connsiteY0" fmla="*/ 5209 h 2412232"/>
                <a:gd name="connsiteX1" fmla="*/ 9377809 w 10596904"/>
                <a:gd name="connsiteY1" fmla="*/ 0 h 2412232"/>
                <a:gd name="connsiteX2" fmla="*/ 9429052 w 10596904"/>
                <a:gd name="connsiteY2" fmla="*/ 2326341 h 2412232"/>
                <a:gd name="connsiteX3" fmla="*/ 107576 w 10596904"/>
                <a:gd name="connsiteY3" fmla="*/ 2412232 h 2412232"/>
                <a:gd name="connsiteX0" fmla="*/ 0 w 10590692"/>
                <a:gd name="connsiteY0" fmla="*/ 5209 h 2497230"/>
                <a:gd name="connsiteX1" fmla="*/ 9377809 w 10590692"/>
                <a:gd name="connsiteY1" fmla="*/ 0 h 2497230"/>
                <a:gd name="connsiteX2" fmla="*/ 9429052 w 10590692"/>
                <a:gd name="connsiteY2" fmla="*/ 2326341 h 2497230"/>
                <a:gd name="connsiteX3" fmla="*/ 107576 w 10590692"/>
                <a:gd name="connsiteY3" fmla="*/ 2320792 h 2497230"/>
                <a:gd name="connsiteX0" fmla="*/ 0 w 10552743"/>
                <a:gd name="connsiteY0" fmla="*/ 5209 h 2326341"/>
                <a:gd name="connsiteX1" fmla="*/ 9377809 w 10552743"/>
                <a:gd name="connsiteY1" fmla="*/ 0 h 2326341"/>
                <a:gd name="connsiteX2" fmla="*/ 9429052 w 10552743"/>
                <a:gd name="connsiteY2" fmla="*/ 2326341 h 2326341"/>
                <a:gd name="connsiteX3" fmla="*/ 107576 w 10552743"/>
                <a:gd name="connsiteY3" fmla="*/ 2320792 h 2326341"/>
                <a:gd name="connsiteX0" fmla="*/ 0 w 10552743"/>
                <a:gd name="connsiteY0" fmla="*/ 5209 h 2326341"/>
                <a:gd name="connsiteX1" fmla="*/ 9377809 w 10552743"/>
                <a:gd name="connsiteY1" fmla="*/ 0 h 2326341"/>
                <a:gd name="connsiteX2" fmla="*/ 9429052 w 10552743"/>
                <a:gd name="connsiteY2" fmla="*/ 2326341 h 2326341"/>
                <a:gd name="connsiteX3" fmla="*/ 107576 w 10552743"/>
                <a:gd name="connsiteY3" fmla="*/ 2320792 h 2326341"/>
                <a:gd name="connsiteX0" fmla="*/ 0 w 10552743"/>
                <a:gd name="connsiteY0" fmla="*/ 5209 h 2326341"/>
                <a:gd name="connsiteX1" fmla="*/ 9377809 w 10552743"/>
                <a:gd name="connsiteY1" fmla="*/ 0 h 2326341"/>
                <a:gd name="connsiteX2" fmla="*/ 9429052 w 10552743"/>
                <a:gd name="connsiteY2" fmla="*/ 2326341 h 2326341"/>
                <a:gd name="connsiteX3" fmla="*/ 4555255 w 10552743"/>
                <a:gd name="connsiteY3" fmla="*/ 2324049 h 2326341"/>
                <a:gd name="connsiteX4" fmla="*/ 107576 w 10552743"/>
                <a:gd name="connsiteY4" fmla="*/ 2320792 h 2326341"/>
                <a:gd name="connsiteX0" fmla="*/ 0 w 10552743"/>
                <a:gd name="connsiteY0" fmla="*/ 5209 h 2326341"/>
                <a:gd name="connsiteX1" fmla="*/ 9377809 w 10552743"/>
                <a:gd name="connsiteY1" fmla="*/ 0 h 2326341"/>
                <a:gd name="connsiteX2" fmla="*/ 9429052 w 10552743"/>
                <a:gd name="connsiteY2" fmla="*/ 2326341 h 2326341"/>
                <a:gd name="connsiteX3" fmla="*/ 4555255 w 10552743"/>
                <a:gd name="connsiteY3" fmla="*/ 2324049 h 2326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2743" h="2326341">
                  <a:moveTo>
                    <a:pt x="0" y="5209"/>
                  </a:moveTo>
                  <a:lnTo>
                    <a:pt x="9377809" y="0"/>
                  </a:lnTo>
                  <a:cubicBezTo>
                    <a:pt x="10998745" y="32628"/>
                    <a:pt x="10872491" y="2315462"/>
                    <a:pt x="9429052" y="2326341"/>
                  </a:cubicBezTo>
                  <a:lnTo>
                    <a:pt x="4555255" y="2324049"/>
                  </a:lnTo>
                </a:path>
              </a:pathLst>
            </a:custGeom>
            <a:noFill/>
            <a:ln w="38100">
              <a:solidFill>
                <a:schemeClr val="bg2">
                  <a:lumMod val="50000"/>
                </a:schemeClr>
              </a:solidFill>
              <a:prstDash val="dash"/>
              <a:headEnd type="oval" w="med" len="med"/>
              <a:tailEnd type="non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2E6027BE-C0C4-B54F-A0A6-95B33709779B}"/>
                </a:ext>
              </a:extLst>
            </p:cNvPr>
            <p:cNvSpPr/>
            <p:nvPr/>
          </p:nvSpPr>
          <p:spPr>
            <a:xfrm flipH="1">
              <a:off x="1123566" y="4032088"/>
              <a:ext cx="9495606" cy="1629775"/>
            </a:xfrm>
            <a:custGeom>
              <a:avLst/>
              <a:gdLst>
                <a:gd name="connsiteX0" fmla="*/ 0 w 11682099"/>
                <a:gd name="connsiteY0" fmla="*/ 232954 h 3237583"/>
                <a:gd name="connsiteX1" fmla="*/ 10300447 w 11682099"/>
                <a:gd name="connsiteY1" fmla="*/ 219507 h 3237583"/>
                <a:gd name="connsiteX2" fmla="*/ 10475258 w 11682099"/>
                <a:gd name="connsiteY2" fmla="*/ 2545848 h 3237583"/>
                <a:gd name="connsiteX3" fmla="*/ 107576 w 11682099"/>
                <a:gd name="connsiteY3" fmla="*/ 2639977 h 3237583"/>
                <a:gd name="connsiteX0" fmla="*/ 0 w 11682099"/>
                <a:gd name="connsiteY0" fmla="*/ 232954 h 2757781"/>
                <a:gd name="connsiteX1" fmla="*/ 10300447 w 11682099"/>
                <a:gd name="connsiteY1" fmla="*/ 219507 h 2757781"/>
                <a:gd name="connsiteX2" fmla="*/ 10475258 w 11682099"/>
                <a:gd name="connsiteY2" fmla="*/ 2545848 h 2757781"/>
                <a:gd name="connsiteX3" fmla="*/ 107576 w 11682099"/>
                <a:gd name="connsiteY3" fmla="*/ 2639977 h 2757781"/>
                <a:gd name="connsiteX0" fmla="*/ 0 w 11673274"/>
                <a:gd name="connsiteY0" fmla="*/ 102382 h 2627209"/>
                <a:gd name="connsiteX1" fmla="*/ 10300447 w 11673274"/>
                <a:gd name="connsiteY1" fmla="*/ 88935 h 2627209"/>
                <a:gd name="connsiteX2" fmla="*/ 10475258 w 11673274"/>
                <a:gd name="connsiteY2" fmla="*/ 2415276 h 2627209"/>
                <a:gd name="connsiteX3" fmla="*/ 107576 w 11673274"/>
                <a:gd name="connsiteY3" fmla="*/ 2509405 h 2627209"/>
                <a:gd name="connsiteX0" fmla="*/ 0 w 11695952"/>
                <a:gd name="connsiteY0" fmla="*/ 102382 h 2509405"/>
                <a:gd name="connsiteX1" fmla="*/ 10300447 w 11695952"/>
                <a:gd name="connsiteY1" fmla="*/ 88935 h 2509405"/>
                <a:gd name="connsiteX2" fmla="*/ 10475258 w 11695952"/>
                <a:gd name="connsiteY2" fmla="*/ 2415276 h 2509405"/>
                <a:gd name="connsiteX3" fmla="*/ 107576 w 11695952"/>
                <a:gd name="connsiteY3" fmla="*/ 2509405 h 2509405"/>
                <a:gd name="connsiteX0" fmla="*/ 0 w 11179314"/>
                <a:gd name="connsiteY0" fmla="*/ 233538 h 2640561"/>
                <a:gd name="connsiteX1" fmla="*/ 10300447 w 11179314"/>
                <a:gd name="connsiteY1" fmla="*/ 220091 h 2640561"/>
                <a:gd name="connsiteX2" fmla="*/ 9429052 w 11179314"/>
                <a:gd name="connsiteY2" fmla="*/ 2554670 h 2640561"/>
                <a:gd name="connsiteX3" fmla="*/ 107576 w 11179314"/>
                <a:gd name="connsiteY3" fmla="*/ 2640561 h 2640561"/>
                <a:gd name="connsiteX0" fmla="*/ 0 w 10572309"/>
                <a:gd name="connsiteY0" fmla="*/ 228424 h 2745861"/>
                <a:gd name="connsiteX1" fmla="*/ 9377809 w 10572309"/>
                <a:gd name="connsiteY1" fmla="*/ 223215 h 2745861"/>
                <a:gd name="connsiteX2" fmla="*/ 9429052 w 10572309"/>
                <a:gd name="connsiteY2" fmla="*/ 2549556 h 2745861"/>
                <a:gd name="connsiteX3" fmla="*/ 107576 w 10572309"/>
                <a:gd name="connsiteY3" fmla="*/ 2635447 h 2745861"/>
                <a:gd name="connsiteX0" fmla="*/ 0 w 10590692"/>
                <a:gd name="connsiteY0" fmla="*/ 97932 h 2615369"/>
                <a:gd name="connsiteX1" fmla="*/ 9377809 w 10590692"/>
                <a:gd name="connsiteY1" fmla="*/ 92723 h 2615369"/>
                <a:gd name="connsiteX2" fmla="*/ 9429052 w 10590692"/>
                <a:gd name="connsiteY2" fmla="*/ 2419064 h 2615369"/>
                <a:gd name="connsiteX3" fmla="*/ 107576 w 10590692"/>
                <a:gd name="connsiteY3" fmla="*/ 2504955 h 2615369"/>
                <a:gd name="connsiteX0" fmla="*/ 0 w 10596904"/>
                <a:gd name="connsiteY0" fmla="*/ 97932 h 2504955"/>
                <a:gd name="connsiteX1" fmla="*/ 9377809 w 10596904"/>
                <a:gd name="connsiteY1" fmla="*/ 92723 h 2504955"/>
                <a:gd name="connsiteX2" fmla="*/ 9429052 w 10596904"/>
                <a:gd name="connsiteY2" fmla="*/ 2419064 h 2504955"/>
                <a:gd name="connsiteX3" fmla="*/ 107576 w 10596904"/>
                <a:gd name="connsiteY3" fmla="*/ 2504955 h 2504955"/>
                <a:gd name="connsiteX0" fmla="*/ 0 w 10596904"/>
                <a:gd name="connsiteY0" fmla="*/ 5209 h 2412232"/>
                <a:gd name="connsiteX1" fmla="*/ 9377809 w 10596904"/>
                <a:gd name="connsiteY1" fmla="*/ 0 h 2412232"/>
                <a:gd name="connsiteX2" fmla="*/ 9429052 w 10596904"/>
                <a:gd name="connsiteY2" fmla="*/ 2326341 h 2412232"/>
                <a:gd name="connsiteX3" fmla="*/ 107576 w 10596904"/>
                <a:gd name="connsiteY3" fmla="*/ 2412232 h 2412232"/>
                <a:gd name="connsiteX0" fmla="*/ 0 w 10590692"/>
                <a:gd name="connsiteY0" fmla="*/ 5209 h 2497230"/>
                <a:gd name="connsiteX1" fmla="*/ 9377809 w 10590692"/>
                <a:gd name="connsiteY1" fmla="*/ 0 h 2497230"/>
                <a:gd name="connsiteX2" fmla="*/ 9429052 w 10590692"/>
                <a:gd name="connsiteY2" fmla="*/ 2326341 h 2497230"/>
                <a:gd name="connsiteX3" fmla="*/ 107576 w 10590692"/>
                <a:gd name="connsiteY3" fmla="*/ 2320792 h 2497230"/>
                <a:gd name="connsiteX0" fmla="*/ 0 w 10552743"/>
                <a:gd name="connsiteY0" fmla="*/ 5209 h 2326341"/>
                <a:gd name="connsiteX1" fmla="*/ 9377809 w 10552743"/>
                <a:gd name="connsiteY1" fmla="*/ 0 h 2326341"/>
                <a:gd name="connsiteX2" fmla="*/ 9429052 w 10552743"/>
                <a:gd name="connsiteY2" fmla="*/ 2326341 h 2326341"/>
                <a:gd name="connsiteX3" fmla="*/ 107576 w 10552743"/>
                <a:gd name="connsiteY3" fmla="*/ 2320792 h 2326341"/>
                <a:gd name="connsiteX0" fmla="*/ 0 w 10552743"/>
                <a:gd name="connsiteY0" fmla="*/ 5209 h 2326341"/>
                <a:gd name="connsiteX1" fmla="*/ 9377809 w 10552743"/>
                <a:gd name="connsiteY1" fmla="*/ 0 h 2326341"/>
                <a:gd name="connsiteX2" fmla="*/ 9429052 w 10552743"/>
                <a:gd name="connsiteY2" fmla="*/ 2326341 h 2326341"/>
                <a:gd name="connsiteX3" fmla="*/ 107576 w 10552743"/>
                <a:gd name="connsiteY3" fmla="*/ 2320792 h 2326341"/>
                <a:gd name="connsiteX0" fmla="*/ 0 w 10552743"/>
                <a:gd name="connsiteY0" fmla="*/ 22723 h 2343855"/>
                <a:gd name="connsiteX1" fmla="*/ 5384459 w 10552743"/>
                <a:gd name="connsiteY1" fmla="*/ 0 h 2343855"/>
                <a:gd name="connsiteX2" fmla="*/ 9377809 w 10552743"/>
                <a:gd name="connsiteY2" fmla="*/ 17514 h 2343855"/>
                <a:gd name="connsiteX3" fmla="*/ 9429052 w 10552743"/>
                <a:gd name="connsiteY3" fmla="*/ 2343855 h 2343855"/>
                <a:gd name="connsiteX4" fmla="*/ 107576 w 10552743"/>
                <a:gd name="connsiteY4" fmla="*/ 2338306 h 2343855"/>
                <a:gd name="connsiteX0" fmla="*/ 5276883 w 10445167"/>
                <a:gd name="connsiteY0" fmla="*/ 0 h 2343855"/>
                <a:gd name="connsiteX1" fmla="*/ 9270233 w 10445167"/>
                <a:gd name="connsiteY1" fmla="*/ 17514 h 2343855"/>
                <a:gd name="connsiteX2" fmla="*/ 9321476 w 10445167"/>
                <a:gd name="connsiteY2" fmla="*/ 2343855 h 2343855"/>
                <a:gd name="connsiteX3" fmla="*/ 0 w 10445167"/>
                <a:gd name="connsiteY3" fmla="*/ 2338306 h 2343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45167" h="2343855">
                  <a:moveTo>
                    <a:pt x="5276883" y="0"/>
                  </a:moveTo>
                  <a:lnTo>
                    <a:pt x="9270233" y="17514"/>
                  </a:lnTo>
                  <a:cubicBezTo>
                    <a:pt x="10891169" y="50142"/>
                    <a:pt x="10764915" y="2332976"/>
                    <a:pt x="9321476" y="2343855"/>
                  </a:cubicBezTo>
                  <a:lnTo>
                    <a:pt x="0" y="2338306"/>
                  </a:lnTo>
                </a:path>
              </a:pathLst>
            </a:custGeom>
            <a:noFill/>
            <a:ln w="38100">
              <a:solidFill>
                <a:schemeClr val="bg2">
                  <a:lumMod val="50000"/>
                </a:schemeClr>
              </a:solidFill>
              <a:prstDash val="dash"/>
              <a:headEnd type="none" w="med" len="med"/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id="{6E8AB912-1924-FE4E-A460-7F8CC861E378}"/>
              </a:ext>
            </a:extLst>
          </p:cNvPr>
          <p:cNvGrpSpPr/>
          <p:nvPr/>
        </p:nvGrpSpPr>
        <p:grpSpPr>
          <a:xfrm>
            <a:off x="5398471" y="956548"/>
            <a:ext cx="1067366" cy="1514228"/>
            <a:chOff x="6505263" y="1091857"/>
            <a:chExt cx="1067366" cy="1514228"/>
          </a:xfrm>
        </p:grpSpPr>
        <p:grpSp>
          <p:nvGrpSpPr>
            <p:cNvPr id="92" name="Группа 91">
              <a:extLst>
                <a:ext uri="{FF2B5EF4-FFF2-40B4-BE49-F238E27FC236}">
                  <a16:creationId xmlns:a16="http://schemas.microsoft.com/office/drawing/2014/main" id="{B062E9E9-193F-CC4C-85DA-63E0B9B89483}"/>
                </a:ext>
              </a:extLst>
            </p:cNvPr>
            <p:cNvGrpSpPr/>
            <p:nvPr/>
          </p:nvGrpSpPr>
          <p:grpSpPr>
            <a:xfrm>
              <a:off x="6505263" y="1091857"/>
              <a:ext cx="1067366" cy="1265966"/>
              <a:chOff x="1584251" y="2902688"/>
              <a:chExt cx="1849751" cy="2193927"/>
            </a:xfrm>
          </p:grpSpPr>
          <p:grpSp>
            <p:nvGrpSpPr>
              <p:cNvPr id="94" name="Группа 93">
                <a:extLst>
                  <a:ext uri="{FF2B5EF4-FFF2-40B4-BE49-F238E27FC236}">
                    <a16:creationId xmlns:a16="http://schemas.microsoft.com/office/drawing/2014/main" id="{0AFEDA11-981C-0E47-B6C8-3994E816880B}"/>
                  </a:ext>
                </a:extLst>
              </p:cNvPr>
              <p:cNvGrpSpPr/>
              <p:nvPr/>
            </p:nvGrpSpPr>
            <p:grpSpPr>
              <a:xfrm>
                <a:off x="1584251" y="2902688"/>
                <a:ext cx="1849751" cy="2193927"/>
                <a:chOff x="1584251" y="2902688"/>
                <a:chExt cx="1849751" cy="2193927"/>
              </a:xfrm>
            </p:grpSpPr>
            <p:sp>
              <p:nvSpPr>
                <p:cNvPr id="102" name="Овал 101">
                  <a:extLst>
                    <a:ext uri="{FF2B5EF4-FFF2-40B4-BE49-F238E27FC236}">
                      <a16:creationId xmlns:a16="http://schemas.microsoft.com/office/drawing/2014/main" id="{365CACCA-A922-5443-87C4-27E641B02FB5}"/>
                    </a:ext>
                  </a:extLst>
                </p:cNvPr>
                <p:cNvSpPr/>
                <p:nvPr/>
              </p:nvSpPr>
              <p:spPr>
                <a:xfrm>
                  <a:off x="1584251" y="2902688"/>
                  <a:ext cx="1849751" cy="184975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3" name="Равнобедренный треугольник 32">
                  <a:extLst>
                    <a:ext uri="{FF2B5EF4-FFF2-40B4-BE49-F238E27FC236}">
                      <a16:creationId xmlns:a16="http://schemas.microsoft.com/office/drawing/2014/main" id="{C56DD395-6A37-5A49-A165-73B347FC7883}"/>
                    </a:ext>
                  </a:extLst>
                </p:cNvPr>
                <p:cNvSpPr/>
                <p:nvPr/>
              </p:nvSpPr>
              <p:spPr>
                <a:xfrm rot="10800000">
                  <a:off x="2168725" y="4572003"/>
                  <a:ext cx="680800" cy="524612"/>
                </a:xfrm>
                <a:prstGeom prst="triangl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01" name="Овал 100">
                <a:extLst>
                  <a:ext uri="{FF2B5EF4-FFF2-40B4-BE49-F238E27FC236}">
                    <a16:creationId xmlns:a16="http://schemas.microsoft.com/office/drawing/2014/main" id="{E9767F68-8FA0-374D-93B9-62DFB1268294}"/>
                  </a:ext>
                </a:extLst>
              </p:cNvPr>
              <p:cNvSpPr/>
              <p:nvPr/>
            </p:nvSpPr>
            <p:spPr>
              <a:xfrm>
                <a:off x="1927691" y="3246129"/>
                <a:ext cx="1162868" cy="11628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93" name="Рисунок 92">
              <a:extLst>
                <a:ext uri="{FF2B5EF4-FFF2-40B4-BE49-F238E27FC236}">
                  <a16:creationId xmlns:a16="http://schemas.microsoft.com/office/drawing/2014/main" id="{A661A60B-4602-3447-A841-DE9443DFA2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6922612" y="2396535"/>
              <a:ext cx="209550" cy="209550"/>
            </a:xfrm>
            <a:prstGeom prst="rect">
              <a:avLst/>
            </a:prstGeom>
          </p:spPr>
        </p:pic>
      </p:grpSp>
      <p:sp>
        <p:nvSpPr>
          <p:cNvPr id="89" name="Текст 61">
            <a:extLst>
              <a:ext uri="{FF2B5EF4-FFF2-40B4-BE49-F238E27FC236}">
                <a16:creationId xmlns:a16="http://schemas.microsoft.com/office/drawing/2014/main" id="{FD2BD231-D6C9-394B-9765-D93F8EE81475}"/>
              </a:ext>
            </a:extLst>
          </p:cNvPr>
          <p:cNvSpPr txBox="1">
            <a:spLocks/>
          </p:cNvSpPr>
          <p:nvPr/>
        </p:nvSpPr>
        <p:spPr>
          <a:xfrm>
            <a:off x="812904" y="2451960"/>
            <a:ext cx="3040801" cy="62976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err="1" smtClean="0"/>
              <a:t>Стейкхолдеры</a:t>
            </a:r>
            <a:r>
              <a:rPr lang="ru-RU" sz="1800" dirty="0" smtClean="0"/>
              <a:t> и потребности</a:t>
            </a:r>
            <a:endParaRPr lang="ru-RU" sz="1800" dirty="0"/>
          </a:p>
        </p:txBody>
      </p:sp>
      <p:sp>
        <p:nvSpPr>
          <p:cNvPr id="91" name="Текст 61">
            <a:extLst>
              <a:ext uri="{FF2B5EF4-FFF2-40B4-BE49-F238E27FC236}">
                <a16:creationId xmlns:a16="http://schemas.microsoft.com/office/drawing/2014/main" id="{E4F98413-39FE-B34D-A3F3-62B7E6158C4D}"/>
              </a:ext>
            </a:extLst>
          </p:cNvPr>
          <p:cNvSpPr txBox="1">
            <a:spLocks/>
          </p:cNvSpPr>
          <p:nvPr/>
        </p:nvSpPr>
        <p:spPr>
          <a:xfrm>
            <a:off x="5298291" y="1162935"/>
            <a:ext cx="1264427" cy="691992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40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02</a:t>
            </a:r>
            <a:endParaRPr lang="en-US" sz="2800" dirty="0"/>
          </a:p>
        </p:txBody>
      </p:sp>
      <p:sp>
        <p:nvSpPr>
          <p:cNvPr id="106" name="Текст 61">
            <a:extLst>
              <a:ext uri="{FF2B5EF4-FFF2-40B4-BE49-F238E27FC236}">
                <a16:creationId xmlns:a16="http://schemas.microsoft.com/office/drawing/2014/main" id="{0B36DA31-CE3A-3D42-A3B8-AC3A47A62E82}"/>
              </a:ext>
            </a:extLst>
          </p:cNvPr>
          <p:cNvSpPr txBox="1">
            <a:spLocks/>
          </p:cNvSpPr>
          <p:nvPr/>
        </p:nvSpPr>
        <p:spPr>
          <a:xfrm>
            <a:off x="2749120" y="4056460"/>
            <a:ext cx="3018902" cy="6442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Презентация решения</a:t>
            </a:r>
            <a:endParaRPr lang="ru-RU" sz="1800" dirty="0"/>
          </a:p>
        </p:txBody>
      </p:sp>
      <p:sp>
        <p:nvSpPr>
          <p:cNvPr id="120" name="Текст 61">
            <a:extLst>
              <a:ext uri="{FF2B5EF4-FFF2-40B4-BE49-F238E27FC236}">
                <a16:creationId xmlns:a16="http://schemas.microsoft.com/office/drawing/2014/main" id="{9D7D099A-BAD6-4B45-B597-D3870222C1B0}"/>
              </a:ext>
            </a:extLst>
          </p:cNvPr>
          <p:cNvSpPr txBox="1">
            <a:spLocks/>
          </p:cNvSpPr>
          <p:nvPr/>
        </p:nvSpPr>
        <p:spPr>
          <a:xfrm>
            <a:off x="6888285" y="4030387"/>
            <a:ext cx="3027644" cy="57366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Оценка и предложение</a:t>
            </a:r>
            <a:endParaRPr lang="ru-RU" sz="1800" dirty="0"/>
          </a:p>
        </p:txBody>
      </p:sp>
      <p:sp>
        <p:nvSpPr>
          <p:cNvPr id="127" name="Заголовок 3">
            <a:extLst>
              <a:ext uri="{FF2B5EF4-FFF2-40B4-BE49-F238E27FC236}">
                <a16:creationId xmlns:a16="http://schemas.microsoft.com/office/drawing/2014/main" id="{D8D16A22-063E-364A-A3F8-8439B1E64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928" y="462203"/>
            <a:ext cx="10566837" cy="387798"/>
          </a:xfrm>
          <a:prstGeom prst="rect">
            <a:avLst/>
          </a:prstGeom>
        </p:spPr>
        <p:txBody>
          <a:bodyPr/>
          <a:lstStyle/>
          <a:p>
            <a:r>
              <a:rPr lang="ru-RU" dirty="0" err="1" smtClean="0">
                <a:solidFill>
                  <a:schemeClr val="tx1">
                    <a:lumMod val="50000"/>
                  </a:schemeClr>
                </a:solidFill>
              </a:rPr>
              <a:t>Пресейлы</a:t>
            </a:r>
            <a:endParaRPr lang="ru-RU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48" name="Группа 104">
            <a:extLst>
              <a:ext uri="{FF2B5EF4-FFF2-40B4-BE49-F238E27FC236}">
                <a16:creationId xmlns:a16="http://schemas.microsoft.com/office/drawing/2014/main" id="{2C6FC0E6-6DE2-4B46-A38F-6FE980CFC560}"/>
              </a:ext>
            </a:extLst>
          </p:cNvPr>
          <p:cNvGrpSpPr/>
          <p:nvPr/>
        </p:nvGrpSpPr>
        <p:grpSpPr>
          <a:xfrm>
            <a:off x="1953517" y="4065377"/>
            <a:ext cx="1067366" cy="1500550"/>
            <a:chOff x="9036511" y="3559397"/>
            <a:chExt cx="1067366" cy="1500550"/>
          </a:xfrm>
        </p:grpSpPr>
        <p:grpSp>
          <p:nvGrpSpPr>
            <p:cNvPr id="49" name="Группа 108">
              <a:extLst>
                <a:ext uri="{FF2B5EF4-FFF2-40B4-BE49-F238E27FC236}">
                  <a16:creationId xmlns:a16="http://schemas.microsoft.com/office/drawing/2014/main" id="{50203604-99CB-114E-9C66-F3DCC773DA7B}"/>
                </a:ext>
              </a:extLst>
            </p:cNvPr>
            <p:cNvGrpSpPr/>
            <p:nvPr/>
          </p:nvGrpSpPr>
          <p:grpSpPr>
            <a:xfrm>
              <a:off x="9036511" y="3559397"/>
              <a:ext cx="1067366" cy="1265966"/>
              <a:chOff x="1584251" y="2902688"/>
              <a:chExt cx="1849751" cy="2193927"/>
            </a:xfrm>
          </p:grpSpPr>
          <p:grpSp>
            <p:nvGrpSpPr>
              <p:cNvPr id="53" name="Группа 110">
                <a:extLst>
                  <a:ext uri="{FF2B5EF4-FFF2-40B4-BE49-F238E27FC236}">
                    <a16:creationId xmlns:a16="http://schemas.microsoft.com/office/drawing/2014/main" id="{2EF86DBE-A9F2-5544-89AC-7CBD8E79E4BD}"/>
                  </a:ext>
                </a:extLst>
              </p:cNvPr>
              <p:cNvGrpSpPr/>
              <p:nvPr/>
            </p:nvGrpSpPr>
            <p:grpSpPr>
              <a:xfrm>
                <a:off x="1584251" y="2902688"/>
                <a:ext cx="1849751" cy="2193927"/>
                <a:chOff x="1584251" y="2902688"/>
                <a:chExt cx="1849751" cy="2193927"/>
              </a:xfrm>
            </p:grpSpPr>
            <p:sp>
              <p:nvSpPr>
                <p:cNvPr id="57" name="Овал 112">
                  <a:extLst>
                    <a:ext uri="{FF2B5EF4-FFF2-40B4-BE49-F238E27FC236}">
                      <a16:creationId xmlns:a16="http://schemas.microsoft.com/office/drawing/2014/main" id="{13940436-22A3-BD4B-95CD-3A486B751EE7}"/>
                    </a:ext>
                  </a:extLst>
                </p:cNvPr>
                <p:cNvSpPr/>
                <p:nvPr/>
              </p:nvSpPr>
              <p:spPr>
                <a:xfrm>
                  <a:off x="1584251" y="2902688"/>
                  <a:ext cx="1849751" cy="184975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8" name="Равнобедренный треугольник 32">
                  <a:extLst>
                    <a:ext uri="{FF2B5EF4-FFF2-40B4-BE49-F238E27FC236}">
                      <a16:creationId xmlns:a16="http://schemas.microsoft.com/office/drawing/2014/main" id="{E0F92B83-82BB-0346-84D0-33AE282C7C96}"/>
                    </a:ext>
                  </a:extLst>
                </p:cNvPr>
                <p:cNvSpPr/>
                <p:nvPr/>
              </p:nvSpPr>
              <p:spPr>
                <a:xfrm rot="10800000">
                  <a:off x="2168725" y="4572003"/>
                  <a:ext cx="680800" cy="524612"/>
                </a:xfrm>
                <a:prstGeom prst="triangl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6" name="Овал 111">
                <a:extLst>
                  <a:ext uri="{FF2B5EF4-FFF2-40B4-BE49-F238E27FC236}">
                    <a16:creationId xmlns:a16="http://schemas.microsoft.com/office/drawing/2014/main" id="{B76D2085-5A02-D444-9AAE-9FF661082D76}"/>
                  </a:ext>
                </a:extLst>
              </p:cNvPr>
              <p:cNvSpPr/>
              <p:nvPr/>
            </p:nvSpPr>
            <p:spPr>
              <a:xfrm>
                <a:off x="1927691" y="3246129"/>
                <a:ext cx="1162868" cy="11628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0" name="Рисунок 109">
              <a:extLst>
                <a:ext uri="{FF2B5EF4-FFF2-40B4-BE49-F238E27FC236}">
                  <a16:creationId xmlns:a16="http://schemas.microsoft.com/office/drawing/2014/main" id="{0CFB8ED3-38B3-A04B-896E-A8F8DDA487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9470163" y="4850397"/>
              <a:ext cx="209550" cy="209550"/>
            </a:xfrm>
            <a:prstGeom prst="rect">
              <a:avLst/>
            </a:prstGeom>
          </p:spPr>
        </p:pic>
      </p:grpSp>
      <p:sp>
        <p:nvSpPr>
          <p:cNvPr id="59" name="Текст 61">
            <a:extLst>
              <a:ext uri="{FF2B5EF4-FFF2-40B4-BE49-F238E27FC236}">
                <a16:creationId xmlns:a16="http://schemas.microsoft.com/office/drawing/2014/main" id="{0B36DA31-CE3A-3D42-A3B8-AC3A47A62E82}"/>
              </a:ext>
            </a:extLst>
          </p:cNvPr>
          <p:cNvSpPr txBox="1">
            <a:spLocks/>
          </p:cNvSpPr>
          <p:nvPr/>
        </p:nvSpPr>
        <p:spPr>
          <a:xfrm>
            <a:off x="760876" y="5581531"/>
            <a:ext cx="3452643" cy="27463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Согласование параметров</a:t>
            </a:r>
            <a:endParaRPr lang="ru-RU" sz="1800" dirty="0"/>
          </a:p>
        </p:txBody>
      </p:sp>
      <p:sp>
        <p:nvSpPr>
          <p:cNvPr id="60" name="Текст 61">
            <a:extLst>
              <a:ext uri="{FF2B5EF4-FFF2-40B4-BE49-F238E27FC236}">
                <a16:creationId xmlns:a16="http://schemas.microsoft.com/office/drawing/2014/main" id="{19830C61-5471-0B48-8BC9-446121D7F02D}"/>
              </a:ext>
            </a:extLst>
          </p:cNvPr>
          <p:cNvSpPr txBox="1">
            <a:spLocks/>
          </p:cNvSpPr>
          <p:nvPr/>
        </p:nvSpPr>
        <p:spPr>
          <a:xfrm>
            <a:off x="1855389" y="4279964"/>
            <a:ext cx="1264427" cy="691992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40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/>
              <a:t>06</a:t>
            </a:r>
            <a:endParaRPr lang="en-US" sz="2800" dirty="0"/>
          </a:p>
        </p:txBody>
      </p:sp>
      <p:grpSp>
        <p:nvGrpSpPr>
          <p:cNvPr id="61" name="Группа 104">
            <a:extLst>
              <a:ext uri="{FF2B5EF4-FFF2-40B4-BE49-F238E27FC236}">
                <a16:creationId xmlns:a16="http://schemas.microsoft.com/office/drawing/2014/main" id="{2C6FC0E6-6DE2-4B46-A38F-6FE980CFC560}"/>
              </a:ext>
            </a:extLst>
          </p:cNvPr>
          <p:cNvGrpSpPr/>
          <p:nvPr/>
        </p:nvGrpSpPr>
        <p:grpSpPr>
          <a:xfrm>
            <a:off x="3537151" y="2537066"/>
            <a:ext cx="1067366" cy="1500550"/>
            <a:chOff x="9036511" y="3559397"/>
            <a:chExt cx="1067366" cy="1500550"/>
          </a:xfrm>
        </p:grpSpPr>
        <p:grpSp>
          <p:nvGrpSpPr>
            <p:cNvPr id="62" name="Группа 108">
              <a:extLst>
                <a:ext uri="{FF2B5EF4-FFF2-40B4-BE49-F238E27FC236}">
                  <a16:creationId xmlns:a16="http://schemas.microsoft.com/office/drawing/2014/main" id="{50203604-99CB-114E-9C66-F3DCC773DA7B}"/>
                </a:ext>
              </a:extLst>
            </p:cNvPr>
            <p:cNvGrpSpPr/>
            <p:nvPr/>
          </p:nvGrpSpPr>
          <p:grpSpPr>
            <a:xfrm>
              <a:off x="9036511" y="3559397"/>
              <a:ext cx="1067366" cy="1265966"/>
              <a:chOff x="1584251" y="2902688"/>
              <a:chExt cx="1849751" cy="2193927"/>
            </a:xfrm>
          </p:grpSpPr>
          <p:grpSp>
            <p:nvGrpSpPr>
              <p:cNvPr id="64" name="Группа 110">
                <a:extLst>
                  <a:ext uri="{FF2B5EF4-FFF2-40B4-BE49-F238E27FC236}">
                    <a16:creationId xmlns:a16="http://schemas.microsoft.com/office/drawing/2014/main" id="{2EF86DBE-A9F2-5544-89AC-7CBD8E79E4BD}"/>
                  </a:ext>
                </a:extLst>
              </p:cNvPr>
              <p:cNvGrpSpPr/>
              <p:nvPr/>
            </p:nvGrpSpPr>
            <p:grpSpPr>
              <a:xfrm>
                <a:off x="1584251" y="2902688"/>
                <a:ext cx="1849751" cy="2193927"/>
                <a:chOff x="1584251" y="2902688"/>
                <a:chExt cx="1849751" cy="2193927"/>
              </a:xfrm>
            </p:grpSpPr>
            <p:sp>
              <p:nvSpPr>
                <p:cNvPr id="66" name="Овал 112">
                  <a:extLst>
                    <a:ext uri="{FF2B5EF4-FFF2-40B4-BE49-F238E27FC236}">
                      <a16:creationId xmlns:a16="http://schemas.microsoft.com/office/drawing/2014/main" id="{13940436-22A3-BD4B-95CD-3A486B751EE7}"/>
                    </a:ext>
                  </a:extLst>
                </p:cNvPr>
                <p:cNvSpPr/>
                <p:nvPr/>
              </p:nvSpPr>
              <p:spPr>
                <a:xfrm>
                  <a:off x="1584251" y="2902688"/>
                  <a:ext cx="1849751" cy="184975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7" name="Равнобедренный треугольник 32">
                  <a:extLst>
                    <a:ext uri="{FF2B5EF4-FFF2-40B4-BE49-F238E27FC236}">
                      <a16:creationId xmlns:a16="http://schemas.microsoft.com/office/drawing/2014/main" id="{E0F92B83-82BB-0346-84D0-33AE282C7C96}"/>
                    </a:ext>
                  </a:extLst>
                </p:cNvPr>
                <p:cNvSpPr/>
                <p:nvPr/>
              </p:nvSpPr>
              <p:spPr>
                <a:xfrm rot="10800000">
                  <a:off x="2168725" y="4572003"/>
                  <a:ext cx="680800" cy="524612"/>
                </a:xfrm>
                <a:prstGeom prst="triangl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65" name="Овал 111">
                <a:extLst>
                  <a:ext uri="{FF2B5EF4-FFF2-40B4-BE49-F238E27FC236}">
                    <a16:creationId xmlns:a16="http://schemas.microsoft.com/office/drawing/2014/main" id="{B76D2085-5A02-D444-9AAE-9FF661082D76}"/>
                  </a:ext>
                </a:extLst>
              </p:cNvPr>
              <p:cNvSpPr/>
              <p:nvPr/>
            </p:nvSpPr>
            <p:spPr>
              <a:xfrm>
                <a:off x="1927691" y="3246129"/>
                <a:ext cx="1162868" cy="11628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63" name="Рисунок 109">
              <a:extLst>
                <a:ext uri="{FF2B5EF4-FFF2-40B4-BE49-F238E27FC236}">
                  <a16:creationId xmlns:a16="http://schemas.microsoft.com/office/drawing/2014/main" id="{0CFB8ED3-38B3-A04B-896E-A8F8DDA487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9470163" y="4850397"/>
              <a:ext cx="209550" cy="209550"/>
            </a:xfrm>
            <a:prstGeom prst="rect">
              <a:avLst/>
            </a:prstGeom>
          </p:spPr>
        </p:pic>
      </p:grpSp>
      <p:sp>
        <p:nvSpPr>
          <p:cNvPr id="68" name="Текст 61">
            <a:extLst>
              <a:ext uri="{FF2B5EF4-FFF2-40B4-BE49-F238E27FC236}">
                <a16:creationId xmlns:a16="http://schemas.microsoft.com/office/drawing/2014/main" id="{19830C61-5471-0B48-8BC9-446121D7F02D}"/>
              </a:ext>
            </a:extLst>
          </p:cNvPr>
          <p:cNvSpPr txBox="1">
            <a:spLocks/>
          </p:cNvSpPr>
          <p:nvPr/>
        </p:nvSpPr>
        <p:spPr>
          <a:xfrm>
            <a:off x="3439023" y="2751653"/>
            <a:ext cx="1264427" cy="691992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40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/>
              <a:t>05</a:t>
            </a:r>
            <a:endParaRPr lang="en-US" sz="2800" dirty="0"/>
          </a:p>
        </p:txBody>
      </p:sp>
      <p:sp>
        <p:nvSpPr>
          <p:cNvPr id="99" name="Текст 61">
            <a:extLst>
              <a:ext uri="{FF2B5EF4-FFF2-40B4-BE49-F238E27FC236}">
                <a16:creationId xmlns:a16="http://schemas.microsoft.com/office/drawing/2014/main" id="{0B36DA31-CE3A-3D42-A3B8-AC3A47A62E82}"/>
              </a:ext>
            </a:extLst>
          </p:cNvPr>
          <p:cNvSpPr txBox="1">
            <a:spLocks/>
          </p:cNvSpPr>
          <p:nvPr/>
        </p:nvSpPr>
        <p:spPr>
          <a:xfrm>
            <a:off x="4761897" y="5573593"/>
            <a:ext cx="3169798" cy="62870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Обогащение Базы знаний</a:t>
            </a:r>
            <a:endParaRPr lang="ru-RU" sz="1800" dirty="0"/>
          </a:p>
        </p:txBody>
      </p:sp>
      <p:sp>
        <p:nvSpPr>
          <p:cNvPr id="69" name="Текст 61">
            <a:extLst>
              <a:ext uri="{FF2B5EF4-FFF2-40B4-BE49-F238E27FC236}">
                <a16:creationId xmlns:a16="http://schemas.microsoft.com/office/drawing/2014/main" id="{FD2BD231-D6C9-394B-9765-D93F8EE81475}"/>
              </a:ext>
            </a:extLst>
          </p:cNvPr>
          <p:cNvSpPr txBox="1">
            <a:spLocks/>
          </p:cNvSpPr>
          <p:nvPr/>
        </p:nvSpPr>
        <p:spPr>
          <a:xfrm>
            <a:off x="4435993" y="2452551"/>
            <a:ext cx="3040801" cy="62976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Способы решения</a:t>
            </a:r>
            <a:endParaRPr lang="ru-RU" sz="1800" dirty="0"/>
          </a:p>
        </p:txBody>
      </p:sp>
      <p:sp>
        <p:nvSpPr>
          <p:cNvPr id="70" name="Текст 61">
            <a:extLst>
              <a:ext uri="{FF2B5EF4-FFF2-40B4-BE49-F238E27FC236}">
                <a16:creationId xmlns:a16="http://schemas.microsoft.com/office/drawing/2014/main" id="{FD2BD231-D6C9-394B-9765-D93F8EE81475}"/>
              </a:ext>
            </a:extLst>
          </p:cNvPr>
          <p:cNvSpPr txBox="1">
            <a:spLocks/>
          </p:cNvSpPr>
          <p:nvPr/>
        </p:nvSpPr>
        <p:spPr>
          <a:xfrm>
            <a:off x="8386099" y="2451959"/>
            <a:ext cx="3040801" cy="62976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5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ППО</a:t>
            </a:r>
            <a:endParaRPr lang="ru-RU" sz="1800" dirty="0"/>
          </a:p>
        </p:txBody>
      </p:sp>
      <p:grpSp>
        <p:nvGrpSpPr>
          <p:cNvPr id="71" name="Группа 87">
            <a:extLst>
              <a:ext uri="{FF2B5EF4-FFF2-40B4-BE49-F238E27FC236}">
                <a16:creationId xmlns:a16="http://schemas.microsoft.com/office/drawing/2014/main" id="{6E8AB912-1924-FE4E-A460-7F8CC861E378}"/>
              </a:ext>
            </a:extLst>
          </p:cNvPr>
          <p:cNvGrpSpPr/>
          <p:nvPr/>
        </p:nvGrpSpPr>
        <p:grpSpPr>
          <a:xfrm>
            <a:off x="9400870" y="933048"/>
            <a:ext cx="1067366" cy="1514228"/>
            <a:chOff x="6505263" y="1091857"/>
            <a:chExt cx="1067366" cy="1514228"/>
          </a:xfrm>
        </p:grpSpPr>
        <p:grpSp>
          <p:nvGrpSpPr>
            <p:cNvPr id="72" name="Группа 91">
              <a:extLst>
                <a:ext uri="{FF2B5EF4-FFF2-40B4-BE49-F238E27FC236}">
                  <a16:creationId xmlns:a16="http://schemas.microsoft.com/office/drawing/2014/main" id="{B062E9E9-193F-CC4C-85DA-63E0B9B89483}"/>
                </a:ext>
              </a:extLst>
            </p:cNvPr>
            <p:cNvGrpSpPr/>
            <p:nvPr/>
          </p:nvGrpSpPr>
          <p:grpSpPr>
            <a:xfrm>
              <a:off x="6505263" y="1091857"/>
              <a:ext cx="1067366" cy="1265966"/>
              <a:chOff x="1584251" y="2902688"/>
              <a:chExt cx="1849751" cy="2193927"/>
            </a:xfrm>
          </p:grpSpPr>
          <p:grpSp>
            <p:nvGrpSpPr>
              <p:cNvPr id="74" name="Группа 93">
                <a:extLst>
                  <a:ext uri="{FF2B5EF4-FFF2-40B4-BE49-F238E27FC236}">
                    <a16:creationId xmlns:a16="http://schemas.microsoft.com/office/drawing/2014/main" id="{0AFEDA11-981C-0E47-B6C8-3994E816880B}"/>
                  </a:ext>
                </a:extLst>
              </p:cNvPr>
              <p:cNvGrpSpPr/>
              <p:nvPr/>
            </p:nvGrpSpPr>
            <p:grpSpPr>
              <a:xfrm>
                <a:off x="1584251" y="2902688"/>
                <a:ext cx="1849751" cy="2193927"/>
                <a:chOff x="1584251" y="2902688"/>
                <a:chExt cx="1849751" cy="2193927"/>
              </a:xfrm>
            </p:grpSpPr>
            <p:sp>
              <p:nvSpPr>
                <p:cNvPr id="76" name="Овал 101">
                  <a:extLst>
                    <a:ext uri="{FF2B5EF4-FFF2-40B4-BE49-F238E27FC236}">
                      <a16:creationId xmlns:a16="http://schemas.microsoft.com/office/drawing/2014/main" id="{365CACCA-A922-5443-87C4-27E641B02FB5}"/>
                    </a:ext>
                  </a:extLst>
                </p:cNvPr>
                <p:cNvSpPr/>
                <p:nvPr/>
              </p:nvSpPr>
              <p:spPr>
                <a:xfrm>
                  <a:off x="1584251" y="2902688"/>
                  <a:ext cx="1849751" cy="184975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0" name="Равнобедренный треугольник 32">
                  <a:extLst>
                    <a:ext uri="{FF2B5EF4-FFF2-40B4-BE49-F238E27FC236}">
                      <a16:creationId xmlns:a16="http://schemas.microsoft.com/office/drawing/2014/main" id="{C56DD395-6A37-5A49-A165-73B347FC7883}"/>
                    </a:ext>
                  </a:extLst>
                </p:cNvPr>
                <p:cNvSpPr/>
                <p:nvPr/>
              </p:nvSpPr>
              <p:spPr>
                <a:xfrm rot="10800000">
                  <a:off x="2168725" y="4572003"/>
                  <a:ext cx="680800" cy="524612"/>
                </a:xfrm>
                <a:prstGeom prst="triangl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75" name="Овал 100">
                <a:extLst>
                  <a:ext uri="{FF2B5EF4-FFF2-40B4-BE49-F238E27FC236}">
                    <a16:creationId xmlns:a16="http://schemas.microsoft.com/office/drawing/2014/main" id="{E9767F68-8FA0-374D-93B9-62DFB1268294}"/>
                  </a:ext>
                </a:extLst>
              </p:cNvPr>
              <p:cNvSpPr/>
              <p:nvPr/>
            </p:nvSpPr>
            <p:spPr>
              <a:xfrm>
                <a:off x="1927691" y="3246129"/>
                <a:ext cx="1162868" cy="11628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73" name="Рисунок 92">
              <a:extLst>
                <a:ext uri="{FF2B5EF4-FFF2-40B4-BE49-F238E27FC236}">
                  <a16:creationId xmlns:a16="http://schemas.microsoft.com/office/drawing/2014/main" id="{A661A60B-4602-3447-A841-DE9443DFA2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6922612" y="2396535"/>
              <a:ext cx="209550" cy="209550"/>
            </a:xfrm>
            <a:prstGeom prst="rect">
              <a:avLst/>
            </a:prstGeom>
          </p:spPr>
        </p:pic>
      </p:grpSp>
      <p:sp>
        <p:nvSpPr>
          <p:cNvPr id="105" name="Текст 61">
            <a:extLst>
              <a:ext uri="{FF2B5EF4-FFF2-40B4-BE49-F238E27FC236}">
                <a16:creationId xmlns:a16="http://schemas.microsoft.com/office/drawing/2014/main" id="{E4F98413-39FE-B34D-A3F3-62B7E6158C4D}"/>
              </a:ext>
            </a:extLst>
          </p:cNvPr>
          <p:cNvSpPr txBox="1">
            <a:spLocks/>
          </p:cNvSpPr>
          <p:nvPr/>
        </p:nvSpPr>
        <p:spPr>
          <a:xfrm>
            <a:off x="9300690" y="1139435"/>
            <a:ext cx="1264427" cy="691992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4000" b="1" kern="1200" dirty="0">
                <a:solidFill>
                  <a:schemeClr val="tx1"/>
                </a:solidFill>
                <a:latin typeface="+mj-lt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/>
              <a:t>03</a:t>
            </a:r>
            <a:endParaRPr lang="en-US" sz="2800" dirty="0"/>
          </a:p>
        </p:txBody>
      </p:sp>
      <p:grpSp>
        <p:nvGrpSpPr>
          <p:cNvPr id="5" name="Group 4"/>
          <p:cNvGrpSpPr/>
          <p:nvPr/>
        </p:nvGrpSpPr>
        <p:grpSpPr>
          <a:xfrm>
            <a:off x="1684865" y="956548"/>
            <a:ext cx="1264427" cy="1556362"/>
            <a:chOff x="1684865" y="956548"/>
            <a:chExt cx="1264427" cy="1556362"/>
          </a:xfrm>
        </p:grpSpPr>
        <p:grpSp>
          <p:nvGrpSpPr>
            <p:cNvPr id="79" name="Группа 78">
              <a:extLst>
                <a:ext uri="{FF2B5EF4-FFF2-40B4-BE49-F238E27FC236}">
                  <a16:creationId xmlns:a16="http://schemas.microsoft.com/office/drawing/2014/main" id="{4B5F7681-948F-6942-B38D-0809E881B79A}"/>
                </a:ext>
              </a:extLst>
            </p:cNvPr>
            <p:cNvGrpSpPr/>
            <p:nvPr/>
          </p:nvGrpSpPr>
          <p:grpSpPr>
            <a:xfrm>
              <a:off x="1783395" y="956548"/>
              <a:ext cx="1067366" cy="1514228"/>
              <a:chOff x="1764310" y="1091857"/>
              <a:chExt cx="1067366" cy="1514228"/>
            </a:xfrm>
          </p:grpSpPr>
          <p:grpSp>
            <p:nvGrpSpPr>
              <p:cNvPr id="81" name="Группа 80">
                <a:extLst>
                  <a:ext uri="{FF2B5EF4-FFF2-40B4-BE49-F238E27FC236}">
                    <a16:creationId xmlns:a16="http://schemas.microsoft.com/office/drawing/2014/main" id="{4375F16D-6455-F247-A2D7-203D7E8F5AD5}"/>
                  </a:ext>
                </a:extLst>
              </p:cNvPr>
              <p:cNvGrpSpPr/>
              <p:nvPr/>
            </p:nvGrpSpPr>
            <p:grpSpPr>
              <a:xfrm>
                <a:off x="1764310" y="1091857"/>
                <a:ext cx="1067366" cy="1265966"/>
                <a:chOff x="1584251" y="2902688"/>
                <a:chExt cx="1849751" cy="2193927"/>
              </a:xfrm>
            </p:grpSpPr>
            <p:grpSp>
              <p:nvGrpSpPr>
                <p:cNvPr id="83" name="Группа 82">
                  <a:extLst>
                    <a:ext uri="{FF2B5EF4-FFF2-40B4-BE49-F238E27FC236}">
                      <a16:creationId xmlns:a16="http://schemas.microsoft.com/office/drawing/2014/main" id="{97739984-89F7-1E40-861B-BB87410FA8BB}"/>
                    </a:ext>
                  </a:extLst>
                </p:cNvPr>
                <p:cNvGrpSpPr/>
                <p:nvPr/>
              </p:nvGrpSpPr>
              <p:grpSpPr>
                <a:xfrm>
                  <a:off x="1584251" y="2902688"/>
                  <a:ext cx="1849751" cy="2193927"/>
                  <a:chOff x="1584251" y="2902688"/>
                  <a:chExt cx="1849751" cy="2193927"/>
                </a:xfrm>
              </p:grpSpPr>
              <p:sp>
                <p:nvSpPr>
                  <p:cNvPr id="85" name="Овал 84">
                    <a:extLst>
                      <a:ext uri="{FF2B5EF4-FFF2-40B4-BE49-F238E27FC236}">
                        <a16:creationId xmlns:a16="http://schemas.microsoft.com/office/drawing/2014/main" id="{C6D00D91-730C-1E45-AEB3-1907503B9604}"/>
                      </a:ext>
                    </a:extLst>
                  </p:cNvPr>
                  <p:cNvSpPr/>
                  <p:nvPr/>
                </p:nvSpPr>
                <p:spPr>
                  <a:xfrm>
                    <a:off x="1584251" y="2902688"/>
                    <a:ext cx="1849751" cy="184975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6" name="Равнобедренный треугольник 32">
                    <a:extLst>
                      <a:ext uri="{FF2B5EF4-FFF2-40B4-BE49-F238E27FC236}">
                        <a16:creationId xmlns:a16="http://schemas.microsoft.com/office/drawing/2014/main" id="{71274BC8-ACB6-8B46-9FC8-2F5B54DBA84B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2168725" y="4572003"/>
                    <a:ext cx="680800" cy="524612"/>
                  </a:xfrm>
                  <a:prstGeom prst="triangle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84" name="Овал 83">
                  <a:extLst>
                    <a:ext uri="{FF2B5EF4-FFF2-40B4-BE49-F238E27FC236}">
                      <a16:creationId xmlns:a16="http://schemas.microsoft.com/office/drawing/2014/main" id="{8A8E3C89-F563-2A43-952D-744E1F2DD62F}"/>
                    </a:ext>
                  </a:extLst>
                </p:cNvPr>
                <p:cNvSpPr/>
                <p:nvPr/>
              </p:nvSpPr>
              <p:spPr>
                <a:xfrm>
                  <a:off x="1927691" y="3246129"/>
                  <a:ext cx="1162868" cy="116286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82" name="Рисунок 81">
                <a:extLst>
                  <a:ext uri="{FF2B5EF4-FFF2-40B4-BE49-F238E27FC236}">
                    <a16:creationId xmlns:a16="http://schemas.microsoft.com/office/drawing/2014/main" id="{C3ECBF8D-0483-454F-A5EC-3DBD64A275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"/>
                  </a:ext>
                </a:extLst>
              </a:blip>
              <a:stretch>
                <a:fillRect/>
              </a:stretch>
            </p:blipFill>
            <p:spPr>
              <a:xfrm>
                <a:off x="2193215" y="2396535"/>
                <a:ext cx="209550" cy="209550"/>
              </a:xfrm>
              <a:prstGeom prst="rect">
                <a:avLst/>
              </a:prstGeom>
            </p:spPr>
          </p:pic>
        </p:grpSp>
        <p:sp>
          <p:nvSpPr>
            <p:cNvPr id="80" name="Текст 61">
              <a:extLst>
                <a:ext uri="{FF2B5EF4-FFF2-40B4-BE49-F238E27FC236}">
                  <a16:creationId xmlns:a16="http://schemas.microsoft.com/office/drawing/2014/main" id="{E5969E49-93CC-9848-86D7-BCDACD6837EF}"/>
                </a:ext>
              </a:extLst>
            </p:cNvPr>
            <p:cNvSpPr txBox="1">
              <a:spLocks/>
            </p:cNvSpPr>
            <p:nvPr/>
          </p:nvSpPr>
          <p:spPr>
            <a:xfrm>
              <a:off x="1684865" y="1171135"/>
              <a:ext cx="1264427" cy="691992"/>
            </a:xfrm>
            <a:prstGeom prst="rect">
              <a:avLst/>
            </a:prstGeom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ru-RU" sz="4000" b="1" kern="1200" dirty="0">
                  <a:solidFill>
                    <a:schemeClr val="tx1"/>
                  </a:solidFill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2800" dirty="0"/>
                <a:t>01</a:t>
              </a:r>
              <a:endParaRPr lang="en-US" sz="2800" dirty="0"/>
            </a:p>
          </p:txBody>
        </p:sp>
        <p:grpSp>
          <p:nvGrpSpPr>
            <p:cNvPr id="107" name="Group 106"/>
            <p:cNvGrpSpPr/>
            <p:nvPr/>
          </p:nvGrpSpPr>
          <p:grpSpPr>
            <a:xfrm>
              <a:off x="2179918" y="2238590"/>
              <a:ext cx="274320" cy="274320"/>
              <a:chOff x="1047214" y="1679258"/>
              <a:chExt cx="274320" cy="274320"/>
            </a:xfrm>
          </p:grpSpPr>
          <p:sp>
            <p:nvSpPr>
              <p:cNvPr id="108" name="Oval 107"/>
              <p:cNvSpPr/>
              <p:nvPr/>
            </p:nvSpPr>
            <p:spPr>
              <a:xfrm>
                <a:off x="1047214" y="1679258"/>
                <a:ext cx="274320" cy="2743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09" name="Рисунок 16">
                <a:extLst>
                  <a:ext uri="{FF2B5EF4-FFF2-40B4-BE49-F238E27FC236}">
                    <a16:creationId xmlns:a16="http://schemas.microsoft.com/office/drawing/2014/main" id="{3C7166B7-9EAD-1848-A99F-CA1A10203E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8"/>
                  </a:ext>
                </a:extLst>
              </a:blip>
              <a:stretch>
                <a:fillRect/>
              </a:stretch>
            </p:blipFill>
            <p:spPr>
              <a:xfrm>
                <a:off x="1061287" y="1693331"/>
                <a:ext cx="253556" cy="253556"/>
              </a:xfrm>
              <a:prstGeom prst="rect">
                <a:avLst/>
              </a:prstGeom>
            </p:spPr>
          </p:pic>
        </p:grpSp>
      </p:grpSp>
      <p:sp>
        <p:nvSpPr>
          <p:cNvPr id="134" name="Oval 133"/>
          <p:cNvSpPr/>
          <p:nvPr/>
        </p:nvSpPr>
        <p:spPr>
          <a:xfrm>
            <a:off x="5753285" y="2231177"/>
            <a:ext cx="274320" cy="27432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5" name="Рисунок 16">
            <a:extLst>
              <a:ext uri="{FF2B5EF4-FFF2-40B4-BE49-F238E27FC236}">
                <a16:creationId xmlns:a16="http://schemas.microsoft.com/office/drawing/2014/main" id="{3C7166B7-9EAD-1848-A99F-CA1A10203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796386" y="2245250"/>
            <a:ext cx="253556" cy="253556"/>
          </a:xfrm>
          <a:prstGeom prst="rect">
            <a:avLst/>
          </a:prstGeom>
        </p:spPr>
      </p:pic>
      <p:sp>
        <p:nvSpPr>
          <p:cNvPr id="136" name="Oval 135"/>
          <p:cNvSpPr/>
          <p:nvPr/>
        </p:nvSpPr>
        <p:spPr>
          <a:xfrm>
            <a:off x="9795911" y="2216023"/>
            <a:ext cx="274320" cy="27432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7" name="Рисунок 16">
            <a:extLst>
              <a:ext uri="{FF2B5EF4-FFF2-40B4-BE49-F238E27FC236}">
                <a16:creationId xmlns:a16="http://schemas.microsoft.com/office/drawing/2014/main" id="{3C7166B7-9EAD-1848-A99F-CA1A10203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806260" y="2226405"/>
            <a:ext cx="253556" cy="253556"/>
          </a:xfrm>
          <a:prstGeom prst="rect">
            <a:avLst/>
          </a:prstGeom>
        </p:spPr>
      </p:pic>
      <p:sp>
        <p:nvSpPr>
          <p:cNvPr id="138" name="Oval 137"/>
          <p:cNvSpPr/>
          <p:nvPr/>
        </p:nvSpPr>
        <p:spPr>
          <a:xfrm>
            <a:off x="3929124" y="3820726"/>
            <a:ext cx="274320" cy="27432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9" name="Рисунок 16">
            <a:extLst>
              <a:ext uri="{FF2B5EF4-FFF2-40B4-BE49-F238E27FC236}">
                <a16:creationId xmlns:a16="http://schemas.microsoft.com/office/drawing/2014/main" id="{3C7166B7-9EAD-1848-A99F-CA1A10203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943197" y="3834799"/>
            <a:ext cx="253556" cy="253556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7775068" y="2530228"/>
            <a:ext cx="1264427" cy="1555897"/>
            <a:chOff x="7338188" y="2530228"/>
            <a:chExt cx="1264427" cy="1555897"/>
          </a:xfrm>
        </p:grpSpPr>
        <p:grpSp>
          <p:nvGrpSpPr>
            <p:cNvPr id="122" name="Группа 121">
              <a:extLst>
                <a:ext uri="{FF2B5EF4-FFF2-40B4-BE49-F238E27FC236}">
                  <a16:creationId xmlns:a16="http://schemas.microsoft.com/office/drawing/2014/main" id="{5C75BFE4-5568-7E43-92E6-F4103D0B5819}"/>
                </a:ext>
              </a:extLst>
            </p:cNvPr>
            <p:cNvGrpSpPr/>
            <p:nvPr/>
          </p:nvGrpSpPr>
          <p:grpSpPr>
            <a:xfrm>
              <a:off x="7432427" y="2530228"/>
              <a:ext cx="1067366" cy="1265966"/>
              <a:chOff x="1584251" y="2902688"/>
              <a:chExt cx="1849750" cy="2193927"/>
            </a:xfrm>
          </p:grpSpPr>
          <p:grpSp>
            <p:nvGrpSpPr>
              <p:cNvPr id="123" name="Группа 122">
                <a:extLst>
                  <a:ext uri="{FF2B5EF4-FFF2-40B4-BE49-F238E27FC236}">
                    <a16:creationId xmlns:a16="http://schemas.microsoft.com/office/drawing/2014/main" id="{BEF78137-562C-A243-B660-F0C403E829FF}"/>
                  </a:ext>
                </a:extLst>
              </p:cNvPr>
              <p:cNvGrpSpPr/>
              <p:nvPr/>
            </p:nvGrpSpPr>
            <p:grpSpPr>
              <a:xfrm>
                <a:off x="1584251" y="2902688"/>
                <a:ext cx="1849750" cy="2193927"/>
                <a:chOff x="1584251" y="2902688"/>
                <a:chExt cx="1849751" cy="2193927"/>
              </a:xfrm>
            </p:grpSpPr>
            <p:sp>
              <p:nvSpPr>
                <p:cNvPr id="125" name="Овал 124">
                  <a:extLst>
                    <a:ext uri="{FF2B5EF4-FFF2-40B4-BE49-F238E27FC236}">
                      <a16:creationId xmlns:a16="http://schemas.microsoft.com/office/drawing/2014/main" id="{48CD8684-39CD-1243-940E-0838E8C150CB}"/>
                    </a:ext>
                  </a:extLst>
                </p:cNvPr>
                <p:cNvSpPr/>
                <p:nvPr/>
              </p:nvSpPr>
              <p:spPr>
                <a:xfrm>
                  <a:off x="1584251" y="2902688"/>
                  <a:ext cx="1849751" cy="184975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6" name="Равнобедренный треугольник 32">
                  <a:extLst>
                    <a:ext uri="{FF2B5EF4-FFF2-40B4-BE49-F238E27FC236}">
                      <a16:creationId xmlns:a16="http://schemas.microsoft.com/office/drawing/2014/main" id="{1C60EF42-7949-3846-940C-CBD3D9CEFA0F}"/>
                    </a:ext>
                  </a:extLst>
                </p:cNvPr>
                <p:cNvSpPr/>
                <p:nvPr/>
              </p:nvSpPr>
              <p:spPr>
                <a:xfrm rot="10800000">
                  <a:off x="2168725" y="4572003"/>
                  <a:ext cx="680800" cy="524612"/>
                </a:xfrm>
                <a:prstGeom prst="triangl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24" name="Овал 123">
                <a:extLst>
                  <a:ext uri="{FF2B5EF4-FFF2-40B4-BE49-F238E27FC236}">
                    <a16:creationId xmlns:a16="http://schemas.microsoft.com/office/drawing/2014/main" id="{AD99913A-595D-A34E-B350-41C2AC9DC794}"/>
                  </a:ext>
                </a:extLst>
              </p:cNvPr>
              <p:cNvSpPr/>
              <p:nvPr/>
            </p:nvSpPr>
            <p:spPr>
              <a:xfrm>
                <a:off x="1927691" y="3246128"/>
                <a:ext cx="1162867" cy="116286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7" name="Текст 61">
              <a:extLst>
                <a:ext uri="{FF2B5EF4-FFF2-40B4-BE49-F238E27FC236}">
                  <a16:creationId xmlns:a16="http://schemas.microsoft.com/office/drawing/2014/main" id="{7B4BDFCF-DB4A-054F-8107-E5981B720D14}"/>
                </a:ext>
              </a:extLst>
            </p:cNvPr>
            <p:cNvSpPr txBox="1">
              <a:spLocks/>
            </p:cNvSpPr>
            <p:nvPr/>
          </p:nvSpPr>
          <p:spPr>
            <a:xfrm>
              <a:off x="7338188" y="2744815"/>
              <a:ext cx="1264427" cy="691992"/>
            </a:xfrm>
            <a:prstGeom prst="rect">
              <a:avLst/>
            </a:prstGeom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ru-RU" sz="4000" b="1" kern="1200" dirty="0">
                  <a:solidFill>
                    <a:schemeClr val="tx1"/>
                  </a:solidFill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2800" dirty="0" smtClean="0"/>
                <a:t>04</a:t>
              </a:r>
              <a:endParaRPr lang="en-US" sz="2800" dirty="0"/>
            </a:p>
          </p:txBody>
        </p:sp>
        <p:sp>
          <p:nvSpPr>
            <p:cNvPr id="140" name="Oval 139"/>
            <p:cNvSpPr/>
            <p:nvPr/>
          </p:nvSpPr>
          <p:spPr>
            <a:xfrm>
              <a:off x="7837648" y="3811805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1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842728" y="3828386"/>
              <a:ext cx="253556" cy="253556"/>
            </a:xfrm>
            <a:prstGeom prst="rect">
              <a:avLst/>
            </a:prstGeom>
          </p:spPr>
        </p:pic>
      </p:grpSp>
      <p:sp>
        <p:nvSpPr>
          <p:cNvPr id="142" name="Oval 141"/>
          <p:cNvSpPr/>
          <p:nvPr/>
        </p:nvSpPr>
        <p:spPr>
          <a:xfrm>
            <a:off x="2333579" y="5326630"/>
            <a:ext cx="274320" cy="27432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3" name="Рисунок 16">
            <a:extLst>
              <a:ext uri="{FF2B5EF4-FFF2-40B4-BE49-F238E27FC236}">
                <a16:creationId xmlns:a16="http://schemas.microsoft.com/office/drawing/2014/main" id="{3C7166B7-9EAD-1848-A99F-CA1A10203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359580" y="5348655"/>
            <a:ext cx="253556" cy="253556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5603703" y="4046621"/>
            <a:ext cx="1264427" cy="1560535"/>
            <a:chOff x="5547823" y="4051701"/>
            <a:chExt cx="1264427" cy="1560535"/>
          </a:xfrm>
        </p:grpSpPr>
        <p:grpSp>
          <p:nvGrpSpPr>
            <p:cNvPr id="3" name="Group 2"/>
            <p:cNvGrpSpPr/>
            <p:nvPr/>
          </p:nvGrpSpPr>
          <p:grpSpPr>
            <a:xfrm>
              <a:off x="5547823" y="4051701"/>
              <a:ext cx="1264427" cy="1265966"/>
              <a:chOff x="7171585" y="4051701"/>
              <a:chExt cx="1264427" cy="1265966"/>
            </a:xfrm>
          </p:grpSpPr>
          <p:grpSp>
            <p:nvGrpSpPr>
              <p:cNvPr id="78" name="Группа 108">
                <a:extLst>
                  <a:ext uri="{FF2B5EF4-FFF2-40B4-BE49-F238E27FC236}">
                    <a16:creationId xmlns:a16="http://schemas.microsoft.com/office/drawing/2014/main" id="{50203604-99CB-114E-9C66-F3DCC773DA7B}"/>
                  </a:ext>
                </a:extLst>
              </p:cNvPr>
              <p:cNvGrpSpPr/>
              <p:nvPr/>
            </p:nvGrpSpPr>
            <p:grpSpPr>
              <a:xfrm>
                <a:off x="7269713" y="4051701"/>
                <a:ext cx="1067366" cy="1265966"/>
                <a:chOff x="1584251" y="2902688"/>
                <a:chExt cx="1849751" cy="2193927"/>
              </a:xfrm>
            </p:grpSpPr>
            <p:grpSp>
              <p:nvGrpSpPr>
                <p:cNvPr id="95" name="Группа 110">
                  <a:extLst>
                    <a:ext uri="{FF2B5EF4-FFF2-40B4-BE49-F238E27FC236}">
                      <a16:creationId xmlns:a16="http://schemas.microsoft.com/office/drawing/2014/main" id="{2EF86DBE-A9F2-5544-89AC-7CBD8E79E4BD}"/>
                    </a:ext>
                  </a:extLst>
                </p:cNvPr>
                <p:cNvGrpSpPr/>
                <p:nvPr/>
              </p:nvGrpSpPr>
              <p:grpSpPr>
                <a:xfrm>
                  <a:off x="1584251" y="2902688"/>
                  <a:ext cx="1849751" cy="2193927"/>
                  <a:chOff x="1584251" y="2902688"/>
                  <a:chExt cx="1849751" cy="2193927"/>
                </a:xfrm>
              </p:grpSpPr>
              <p:sp>
                <p:nvSpPr>
                  <p:cNvPr id="97" name="Овал 112">
                    <a:extLst>
                      <a:ext uri="{FF2B5EF4-FFF2-40B4-BE49-F238E27FC236}">
                        <a16:creationId xmlns:a16="http://schemas.microsoft.com/office/drawing/2014/main" id="{13940436-22A3-BD4B-95CD-3A486B751EE7}"/>
                      </a:ext>
                    </a:extLst>
                  </p:cNvPr>
                  <p:cNvSpPr/>
                  <p:nvPr/>
                </p:nvSpPr>
                <p:spPr>
                  <a:xfrm>
                    <a:off x="1584251" y="2902688"/>
                    <a:ext cx="1849751" cy="1849750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8" name="Равнобедренный треугольник 32">
                    <a:extLst>
                      <a:ext uri="{FF2B5EF4-FFF2-40B4-BE49-F238E27FC236}">
                        <a16:creationId xmlns:a16="http://schemas.microsoft.com/office/drawing/2014/main" id="{E0F92B83-82BB-0346-84D0-33AE282C7C96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2168725" y="4572003"/>
                    <a:ext cx="680800" cy="524612"/>
                  </a:xfrm>
                  <a:prstGeom prst="triangle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96" name="Овал 111">
                  <a:extLst>
                    <a:ext uri="{FF2B5EF4-FFF2-40B4-BE49-F238E27FC236}">
                      <a16:creationId xmlns:a16="http://schemas.microsoft.com/office/drawing/2014/main" id="{B76D2085-5A02-D444-9AAE-9FF661082D76}"/>
                    </a:ext>
                  </a:extLst>
                </p:cNvPr>
                <p:cNvSpPr/>
                <p:nvPr/>
              </p:nvSpPr>
              <p:spPr>
                <a:xfrm>
                  <a:off x="1927691" y="3246129"/>
                  <a:ext cx="1162868" cy="116286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00" name="Текст 61">
                <a:extLst>
                  <a:ext uri="{FF2B5EF4-FFF2-40B4-BE49-F238E27FC236}">
                    <a16:creationId xmlns:a16="http://schemas.microsoft.com/office/drawing/2014/main" id="{19830C61-5471-0B48-8BC9-446121D7F0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71585" y="4266288"/>
                <a:ext cx="1264427" cy="691992"/>
              </a:xfrm>
              <a:prstGeom prst="rect">
                <a:avLst/>
              </a:prstGeom>
            </p:spPr>
            <p:txBody>
              <a:bodyPr anchor="ctr"/>
              <a:lstStyle>
                <a:lvl1pPr marL="0" indent="0" algn="ctr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lang="ru-RU" sz="4000" b="1" kern="1200" dirty="0">
                    <a:solidFill>
                      <a:schemeClr val="tx1"/>
                    </a:solidFill>
                    <a:latin typeface="+mj-lt"/>
                    <a:ea typeface="Open Sans bold" panose="020B0806030504020204" pitchFamily="34" charset="0"/>
                    <a:cs typeface="Open Sans bold" panose="020B0806030504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2800" dirty="0" smtClean="0"/>
                  <a:t>07</a:t>
                </a:r>
                <a:endParaRPr lang="en-US" sz="2800" dirty="0"/>
              </a:p>
            </p:txBody>
          </p:sp>
        </p:grpSp>
        <p:sp>
          <p:nvSpPr>
            <p:cNvPr id="144" name="Oval 143"/>
            <p:cNvSpPr/>
            <p:nvPr/>
          </p:nvSpPr>
          <p:spPr>
            <a:xfrm>
              <a:off x="6028283" y="5337916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5" name="Рисунок 16">
              <a:extLst>
                <a:ext uri="{FF2B5EF4-FFF2-40B4-BE49-F238E27FC236}">
                  <a16:creationId xmlns:a16="http://schemas.microsoft.com/office/drawing/2014/main" id="{3C7166B7-9EAD-1848-A99F-CA1A10203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6049942" y="5348655"/>
              <a:ext cx="253556" cy="2535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33433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/>
      <p:bldP spid="106" grpId="0"/>
      <p:bldP spid="120" grpId="0"/>
      <p:bldP spid="59" grpId="0"/>
      <p:bldP spid="99" grpId="0"/>
      <p:bldP spid="69" grpId="0"/>
      <p:bldP spid="7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CONTAIN_GUIDS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3a27b4e3-7712-4be1-8ec3-690c5a800be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3a27b4e3-7712-4be1-8ec3-690c5a800be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3a27b4e3-7712-4be1-8ec3-690c5a800be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3caae019-3192-47fb-8da9-28316c3eb52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00311171-1698-4713-a756-fe53f8ddca3a"/>
</p:tagLst>
</file>

<file path=ppt/theme/theme1.xml><?xml version="1.0" encoding="utf-8"?>
<a:theme xmlns:a="http://schemas.openxmlformats.org/drawingml/2006/main" name="Сетка">
  <a:themeElements>
    <a:clrScheme name="Пользовательские 7">
      <a:dk1>
        <a:srgbClr val="4E4D51"/>
      </a:dk1>
      <a:lt1>
        <a:srgbClr val="FFFFFF"/>
      </a:lt1>
      <a:dk2>
        <a:srgbClr val="424242"/>
      </a:dk2>
      <a:lt2>
        <a:srgbClr val="FFFFFF"/>
      </a:lt2>
      <a:accent1>
        <a:srgbClr val="00A758"/>
      </a:accent1>
      <a:accent2>
        <a:srgbClr val="475DEB"/>
      </a:accent2>
      <a:accent3>
        <a:srgbClr val="FF645A"/>
      </a:accent3>
      <a:accent4>
        <a:srgbClr val="FFA436"/>
      </a:accent4>
      <a:accent5>
        <a:srgbClr val="68676C"/>
      </a:accent5>
      <a:accent6>
        <a:srgbClr val="7027E2"/>
      </a:accent6>
      <a:hlink>
        <a:srgbClr val="475DEB"/>
      </a:hlink>
      <a:folHlink>
        <a:srgbClr val="FF64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824</TotalTime>
  <Words>1043</Words>
  <Application>Microsoft Office PowerPoint</Application>
  <PresentationFormat>Widescreen</PresentationFormat>
  <Paragraphs>404</Paragraphs>
  <Slides>2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Open Sans</vt:lpstr>
      <vt:lpstr>Croc</vt:lpstr>
      <vt:lpstr>Arial</vt:lpstr>
      <vt:lpstr>Wingdings</vt:lpstr>
      <vt:lpstr>Open Sans bold</vt:lpstr>
      <vt:lpstr>Circe Light</vt:lpstr>
      <vt:lpstr>Croc Light</vt:lpstr>
      <vt:lpstr>Symbol</vt:lpstr>
      <vt:lpstr>Verdana</vt:lpstr>
      <vt:lpstr>Сетка</vt:lpstr>
      <vt:lpstr>Слайд think-cell</vt:lpstr>
      <vt:lpstr>Ведущий аналитик в ИТ-проекте для внешнего Заказчика: как быть профессионалом</vt:lpstr>
      <vt:lpstr>О чем будем говорить</vt:lpstr>
      <vt:lpstr>Тебе будет интересно, если</vt:lpstr>
      <vt:lpstr>Немного о терминах</vt:lpstr>
      <vt:lpstr>Области работы ведущего аналитика</vt:lpstr>
      <vt:lpstr>Проекты (1/3)</vt:lpstr>
      <vt:lpstr>Проекты (2/3)</vt:lpstr>
      <vt:lpstr>Проекты (3/3)</vt:lpstr>
      <vt:lpstr>Пресейлы</vt:lpstr>
      <vt:lpstr>Развитие направления: процессы</vt:lpstr>
      <vt:lpstr>Развитие направления:  команда аналитиков</vt:lpstr>
      <vt:lpstr>Люди делятся на….</vt:lpstr>
      <vt:lpstr>Зачем заниматься базой знаний</vt:lpstr>
      <vt:lpstr>База знаний</vt:lpstr>
      <vt:lpstr>Немного интересной статистики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Что дальше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utova Elizaveta</dc:creator>
  <cp:lastModifiedBy>Trofimova Anna</cp:lastModifiedBy>
  <cp:revision>576</cp:revision>
  <dcterms:created xsi:type="dcterms:W3CDTF">2018-10-01T12:54:00Z</dcterms:created>
  <dcterms:modified xsi:type="dcterms:W3CDTF">2021-05-19T18:5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ProviderInitializationData">
    <vt:lpwstr>https://jive.croc.ru</vt:lpwstr>
  </property>
  <property fmtid="{D5CDD505-2E9C-101B-9397-08002B2CF9AE}" pid="3" name="Jive_LatestUserAccountName">
    <vt:lpwstr>AnTrofimova</vt:lpwstr>
  </property>
  <property fmtid="{D5CDD505-2E9C-101B-9397-08002B2CF9AE}" pid="4" name="Offisync_UniqueId">
    <vt:lpwstr>198083</vt:lpwstr>
  </property>
  <property fmtid="{D5CDD505-2E9C-101B-9397-08002B2CF9AE}" pid="5" name="Offisync_UpdateToken">
    <vt:lpwstr>12</vt:lpwstr>
  </property>
  <property fmtid="{D5CDD505-2E9C-101B-9397-08002B2CF9AE}" pid="6" name="Offisync_ServerID">
    <vt:lpwstr>d81fa5fc-e6d4-4a02-91a9-ab1e2c1de9ed</vt:lpwstr>
  </property>
  <property fmtid="{D5CDD505-2E9C-101B-9397-08002B2CF9AE}" pid="7" name="Jive_VersionGuid">
    <vt:lpwstr>4792c57b-fe73-411a-b99f-9e5f2798810b</vt:lpwstr>
  </property>
  <property fmtid="{D5CDD505-2E9C-101B-9397-08002B2CF9AE}" pid="8" name="Jive_PrevVersionNumber">
    <vt:lpwstr/>
  </property>
  <property fmtid="{D5CDD505-2E9C-101B-9397-08002B2CF9AE}" pid="9" name="Jive_VersionGuid_v2.5">
    <vt:lpwstr/>
  </property>
  <property fmtid="{D5CDD505-2E9C-101B-9397-08002B2CF9AE}" pid="10" name="Jive_LatestFileFullName">
    <vt:lpwstr/>
  </property>
  <property fmtid="{D5CDD505-2E9C-101B-9397-08002B2CF9AE}" pid="11" name="Jive_ModifiedButNotPublished">
    <vt:lpwstr>True</vt:lpwstr>
  </property>
</Properties>
</file>